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16" r:id="rId1"/>
    <p:sldMasterId id="2147484293" r:id="rId2"/>
    <p:sldMasterId id="2147484301" r:id="rId3"/>
    <p:sldMasterId id="2147484302" r:id="rId4"/>
    <p:sldMasterId id="2147484315" r:id="rId5"/>
    <p:sldMasterId id="2147484334" r:id="rId6"/>
    <p:sldMasterId id="2147484343" r:id="rId7"/>
  </p:sldMasterIdLst>
  <p:notesMasterIdLst>
    <p:notesMasterId r:id="rId11"/>
  </p:notesMasterIdLst>
  <p:handoutMasterIdLst>
    <p:handoutMasterId r:id="rId12"/>
  </p:handoutMasterIdLst>
  <p:sldIdLst>
    <p:sldId id="381" r:id="rId8"/>
    <p:sldId id="385" r:id="rId9"/>
    <p:sldId id="373" r:id="rId10"/>
  </p:sldIdLst>
  <p:sldSz cx="12192000" cy="6858000"/>
  <p:notesSz cx="6858000" cy="9144000"/>
  <p:custDataLst>
    <p:tags r:id="rId13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1pPr>
    <a:lvl2pPr marL="609585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2pPr>
    <a:lvl3pPr marL="121917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3pPr>
    <a:lvl4pPr marL="1828754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4pPr>
    <a:lvl5pPr marL="2438339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5pPr>
    <a:lvl6pPr marL="3047924" algn="l" defTabSz="609585" rtl="0" eaLnBrk="1" latinLnBrk="0" hangingPunct="1"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6pPr>
    <a:lvl7pPr marL="3657509" algn="l" defTabSz="609585" rtl="0" eaLnBrk="1" latinLnBrk="0" hangingPunct="1"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7pPr>
    <a:lvl8pPr marL="4267093" algn="l" defTabSz="609585" rtl="0" eaLnBrk="1" latinLnBrk="0" hangingPunct="1"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8pPr>
    <a:lvl9pPr marL="4876678" algn="l" defTabSz="609585" rtl="0" eaLnBrk="1" latinLnBrk="0" hangingPunct="1">
      <a:defRPr sz="3200" kern="1200">
        <a:solidFill>
          <a:schemeClr val="tx1"/>
        </a:solidFill>
        <a:latin typeface="Arial" charset="0"/>
        <a:ea typeface="MS PGothic" charset="0"/>
        <a:cs typeface="MS PGothic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02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chiefke, Ines" initials="SI" lastIdx="56" clrIdx="0"/>
  <p:cmAuthor id="1" name="julia" initials="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85C3"/>
    <a:srgbClr val="B90F22"/>
    <a:srgbClr val="D7DAE3"/>
    <a:srgbClr val="020000"/>
    <a:srgbClr val="A6A6A6"/>
    <a:srgbClr val="000000"/>
    <a:srgbClr val="E9503E"/>
    <a:srgbClr val="FDCA00"/>
    <a:srgbClr val="F5A300"/>
    <a:srgbClr val="9C1C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756" autoAdjust="0"/>
    <p:restoredTop sz="94437"/>
  </p:normalViewPr>
  <p:slideViewPr>
    <p:cSldViewPr snapToObjects="1">
      <p:cViewPr>
        <p:scale>
          <a:sx n="82" d="100"/>
          <a:sy n="82" d="100"/>
        </p:scale>
        <p:origin x="834" y="552"/>
      </p:cViewPr>
      <p:guideLst>
        <p:guide orient="horz" pos="202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304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18F445-46AA-4E00-A42E-CB8047E39D7F}" type="doc">
      <dgm:prSet loTypeId="urn:microsoft.com/office/officeart/2005/8/layout/radial1" loCatId="relationship" qsTypeId="urn:microsoft.com/office/officeart/2005/8/quickstyle/simple2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D8147350-C5DD-4652-88A3-1549ABE182A2}">
      <dgm:prSet phldrT="[Text]" custT="1"/>
      <dgm:spPr>
        <a:solidFill>
          <a:schemeClr val="accent6">
            <a:lumMod val="75000"/>
          </a:schemeClr>
        </a:solidFill>
        <a:ln>
          <a:noFill/>
        </a:ln>
      </dgm:spPr>
      <dgm:t>
        <a:bodyPr/>
        <a:lstStyle/>
        <a:p>
          <a:r>
            <a:rPr lang="en-US" sz="1800" dirty="0"/>
            <a:t>Element</a:t>
          </a:r>
          <a:endParaRPr lang="en-US" sz="1100" dirty="0"/>
        </a:p>
      </dgm:t>
    </dgm:pt>
    <dgm:pt modelId="{45740B88-0920-4372-9976-40F8038CA6A5}" type="parTrans" cxnId="{10ED2992-C65C-46BE-A4DC-C9B02837D990}">
      <dgm:prSet/>
      <dgm:spPr/>
      <dgm:t>
        <a:bodyPr/>
        <a:lstStyle/>
        <a:p>
          <a:endParaRPr lang="de-DE" sz="1200"/>
        </a:p>
      </dgm:t>
    </dgm:pt>
    <dgm:pt modelId="{F9BB5190-EB76-47D9-955D-8520277BF7D8}" type="sibTrans" cxnId="{10ED2992-C65C-46BE-A4DC-C9B02837D990}">
      <dgm:prSet/>
      <dgm:spPr/>
      <dgm:t>
        <a:bodyPr/>
        <a:lstStyle/>
        <a:p>
          <a:endParaRPr lang="de-DE" sz="1200"/>
        </a:p>
      </dgm:t>
    </dgm:pt>
    <dgm:pt modelId="{C2C31AA2-DF67-4004-84FA-DD9DDCA63152}">
      <dgm:prSet phldrT="[Text]" custT="1"/>
      <dgm:spPr>
        <a:ln>
          <a:noFill/>
        </a:ln>
      </dgm:spPr>
      <dgm:t>
        <a:bodyPr/>
        <a:lstStyle/>
        <a:p>
          <a:r>
            <a:rPr lang="en-US" sz="2000" dirty="0" err="1"/>
            <a:t>elem</a:t>
          </a:r>
          <a:endParaRPr lang="en-US" sz="2000" dirty="0"/>
        </a:p>
      </dgm:t>
    </dgm:pt>
    <dgm:pt modelId="{FFF4482D-646D-4951-A27D-8ECB377299F8}" type="parTrans" cxnId="{1C8FCCD8-CFDD-4E3F-A9BD-D3234F752594}">
      <dgm:prSet custT="1"/>
      <dgm:spPr/>
      <dgm:t>
        <a:bodyPr/>
        <a:lstStyle/>
        <a:p>
          <a:endParaRPr lang="de-DE" sz="400"/>
        </a:p>
      </dgm:t>
    </dgm:pt>
    <dgm:pt modelId="{993FF537-8855-49DF-B271-1E40F3EAF2D8}" type="sibTrans" cxnId="{1C8FCCD8-CFDD-4E3F-A9BD-D3234F752594}">
      <dgm:prSet/>
      <dgm:spPr/>
      <dgm:t>
        <a:bodyPr/>
        <a:lstStyle/>
        <a:p>
          <a:endParaRPr lang="de-DE" sz="1200"/>
        </a:p>
      </dgm:t>
    </dgm:pt>
    <dgm:pt modelId="{4EF70B07-B107-483B-97C5-0734900AAEA1}">
      <dgm:prSet phldrT="[Text]" custT="1"/>
      <dgm:spPr>
        <a:ln>
          <a:noFill/>
        </a:ln>
      </dgm:spPr>
      <dgm:t>
        <a:bodyPr/>
        <a:lstStyle/>
        <a:p>
          <a:r>
            <a:rPr lang="en-US" sz="2000" dirty="0" err="1"/>
            <a:t>elem</a:t>
          </a:r>
          <a:endParaRPr lang="en-US" sz="2000" dirty="0"/>
        </a:p>
      </dgm:t>
    </dgm:pt>
    <dgm:pt modelId="{1AE0DF6D-A5C7-4ABC-8CE7-376C329AC9D9}" type="parTrans" cxnId="{18B79BAA-C069-4397-8E1D-F824F65B3404}">
      <dgm:prSet custT="1"/>
      <dgm:spPr/>
      <dgm:t>
        <a:bodyPr/>
        <a:lstStyle/>
        <a:p>
          <a:endParaRPr lang="de-DE" sz="400"/>
        </a:p>
      </dgm:t>
    </dgm:pt>
    <dgm:pt modelId="{6A4FA179-6854-45F2-8D3E-7FFE1F6407DB}" type="sibTrans" cxnId="{18B79BAA-C069-4397-8E1D-F824F65B3404}">
      <dgm:prSet/>
      <dgm:spPr/>
      <dgm:t>
        <a:bodyPr/>
        <a:lstStyle/>
        <a:p>
          <a:endParaRPr lang="de-DE" sz="1200"/>
        </a:p>
      </dgm:t>
    </dgm:pt>
    <dgm:pt modelId="{5D660468-5E30-45C6-8ECA-CF6FE07A90AB}">
      <dgm:prSet phldrT="[Text]" custT="1"/>
      <dgm:spPr>
        <a:ln>
          <a:noFill/>
        </a:ln>
      </dgm:spPr>
      <dgm:t>
        <a:bodyPr/>
        <a:lstStyle/>
        <a:p>
          <a:r>
            <a:rPr lang="en-US" sz="2000" dirty="0" err="1"/>
            <a:t>elem</a:t>
          </a:r>
          <a:endParaRPr lang="en-US" sz="2000" dirty="0"/>
        </a:p>
      </dgm:t>
    </dgm:pt>
    <dgm:pt modelId="{33E31A31-B1B6-4078-B565-E1AD90E31353}" type="sibTrans" cxnId="{2A10B0F1-5C79-4E7D-9627-1CF8F587D45E}">
      <dgm:prSet/>
      <dgm:spPr/>
      <dgm:t>
        <a:bodyPr/>
        <a:lstStyle/>
        <a:p>
          <a:endParaRPr lang="de-DE" sz="1200"/>
        </a:p>
      </dgm:t>
    </dgm:pt>
    <dgm:pt modelId="{44FFA4B2-F304-4D53-ACEF-EC3DD249D217}" type="parTrans" cxnId="{2A10B0F1-5C79-4E7D-9627-1CF8F587D45E}">
      <dgm:prSet custT="1"/>
      <dgm:spPr/>
      <dgm:t>
        <a:bodyPr/>
        <a:lstStyle/>
        <a:p>
          <a:endParaRPr lang="de-DE" sz="400"/>
        </a:p>
      </dgm:t>
    </dgm:pt>
    <dgm:pt modelId="{1DD14DAD-FBEA-4D0E-89D1-96E1DA3240BF}">
      <dgm:prSet phldrT="[Text]" custT="1"/>
      <dgm:spPr>
        <a:ln>
          <a:noFill/>
        </a:ln>
      </dgm:spPr>
      <dgm:t>
        <a:bodyPr/>
        <a:lstStyle/>
        <a:p>
          <a:r>
            <a:rPr lang="en-US" sz="2000" dirty="0" err="1"/>
            <a:t>elem</a:t>
          </a:r>
          <a:endParaRPr lang="en-US" sz="2000" dirty="0"/>
        </a:p>
      </dgm:t>
    </dgm:pt>
    <dgm:pt modelId="{C795ED53-DE5C-4106-BBCD-32DED6AAE12F}" type="parTrans" cxnId="{D50A7137-8243-4DE4-AE13-749E1A35753A}">
      <dgm:prSet custT="1"/>
      <dgm:spPr/>
      <dgm:t>
        <a:bodyPr/>
        <a:lstStyle/>
        <a:p>
          <a:endParaRPr lang="de-DE" sz="400"/>
        </a:p>
      </dgm:t>
    </dgm:pt>
    <dgm:pt modelId="{2D57D474-7C6B-4B50-A97D-A914E87E7C2C}" type="sibTrans" cxnId="{D50A7137-8243-4DE4-AE13-749E1A35753A}">
      <dgm:prSet/>
      <dgm:spPr/>
      <dgm:t>
        <a:bodyPr/>
        <a:lstStyle/>
        <a:p>
          <a:endParaRPr lang="de-DE" sz="1200"/>
        </a:p>
      </dgm:t>
    </dgm:pt>
    <dgm:pt modelId="{C38274DD-2E63-AB40-BDD6-91E065FE887A}">
      <dgm:prSet phldrT="[Text]" custT="1"/>
      <dgm:spPr>
        <a:ln>
          <a:noFill/>
        </a:ln>
      </dgm:spPr>
      <dgm:t>
        <a:bodyPr/>
        <a:lstStyle/>
        <a:p>
          <a:r>
            <a:rPr lang="en-US" sz="2000" dirty="0" err="1"/>
            <a:t>elem</a:t>
          </a:r>
          <a:endParaRPr lang="en-US" sz="2000" dirty="0"/>
        </a:p>
      </dgm:t>
    </dgm:pt>
    <dgm:pt modelId="{973B5588-0E81-914E-8346-DA25243C020B}" type="parTrans" cxnId="{525C74BF-243C-C44B-9189-39C940B725E7}">
      <dgm:prSet custT="1"/>
      <dgm:spPr/>
      <dgm:t>
        <a:bodyPr/>
        <a:lstStyle/>
        <a:p>
          <a:endParaRPr lang="de-DE" sz="400"/>
        </a:p>
      </dgm:t>
    </dgm:pt>
    <dgm:pt modelId="{36EDC11A-E782-364F-8870-AE0F29562189}" type="sibTrans" cxnId="{525C74BF-243C-C44B-9189-39C940B725E7}">
      <dgm:prSet/>
      <dgm:spPr/>
      <dgm:t>
        <a:bodyPr/>
        <a:lstStyle/>
        <a:p>
          <a:endParaRPr lang="de-DE" sz="1200"/>
        </a:p>
      </dgm:t>
    </dgm:pt>
    <dgm:pt modelId="{7F583FFD-8FC0-4620-AC77-A8D3CD24DCDC}" type="pres">
      <dgm:prSet presAssocID="{8218F445-46AA-4E00-A42E-CB8047E39D7F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6C5D1DE-960B-4F47-8A3A-C05310A2D13F}" type="pres">
      <dgm:prSet presAssocID="{D8147350-C5DD-4652-88A3-1549ABE182A2}" presName="centerShape" presStyleLbl="node0" presStyleIdx="0" presStyleCnt="1"/>
      <dgm:spPr/>
    </dgm:pt>
    <dgm:pt modelId="{0E3E5BA6-0CBB-42A5-8D1A-879A86AE766D}" type="pres">
      <dgm:prSet presAssocID="{44FFA4B2-F304-4D53-ACEF-EC3DD249D217}" presName="Name9" presStyleLbl="parChTrans1D2" presStyleIdx="0" presStyleCnt="5"/>
      <dgm:spPr/>
    </dgm:pt>
    <dgm:pt modelId="{C1FC17B5-5FF7-4E9C-AFBD-45CFC5DCA7F1}" type="pres">
      <dgm:prSet presAssocID="{44FFA4B2-F304-4D53-ACEF-EC3DD249D217}" presName="connTx" presStyleLbl="parChTrans1D2" presStyleIdx="0" presStyleCnt="5"/>
      <dgm:spPr/>
    </dgm:pt>
    <dgm:pt modelId="{F9B1B483-98AD-4230-9087-41BFF15BFAC3}" type="pres">
      <dgm:prSet presAssocID="{5D660468-5E30-45C6-8ECA-CF6FE07A90AB}" presName="node" presStyleLbl="node1" presStyleIdx="0" presStyleCnt="5">
        <dgm:presLayoutVars>
          <dgm:bulletEnabled val="1"/>
        </dgm:presLayoutVars>
      </dgm:prSet>
      <dgm:spPr/>
    </dgm:pt>
    <dgm:pt modelId="{63480B0F-6297-48D3-96BA-9BCA8E99D1CF}" type="pres">
      <dgm:prSet presAssocID="{FFF4482D-646D-4951-A27D-8ECB377299F8}" presName="Name9" presStyleLbl="parChTrans1D2" presStyleIdx="1" presStyleCnt="5"/>
      <dgm:spPr/>
    </dgm:pt>
    <dgm:pt modelId="{46E255CE-EACF-4C44-B8A7-40C06BE2E8B5}" type="pres">
      <dgm:prSet presAssocID="{FFF4482D-646D-4951-A27D-8ECB377299F8}" presName="connTx" presStyleLbl="parChTrans1D2" presStyleIdx="1" presStyleCnt="5"/>
      <dgm:spPr/>
    </dgm:pt>
    <dgm:pt modelId="{24E04077-EBAF-47C4-A40E-1C9855DBC081}" type="pres">
      <dgm:prSet presAssocID="{C2C31AA2-DF67-4004-84FA-DD9DDCA63152}" presName="node" presStyleLbl="node1" presStyleIdx="1" presStyleCnt="5">
        <dgm:presLayoutVars>
          <dgm:bulletEnabled val="1"/>
        </dgm:presLayoutVars>
      </dgm:prSet>
      <dgm:spPr/>
    </dgm:pt>
    <dgm:pt modelId="{390E0014-E2C5-074C-A587-47B3C63C4AD2}" type="pres">
      <dgm:prSet presAssocID="{973B5588-0E81-914E-8346-DA25243C020B}" presName="Name9" presStyleLbl="parChTrans1D2" presStyleIdx="2" presStyleCnt="5"/>
      <dgm:spPr/>
    </dgm:pt>
    <dgm:pt modelId="{B5C76352-3A59-D543-886F-0E3DE478E1C9}" type="pres">
      <dgm:prSet presAssocID="{973B5588-0E81-914E-8346-DA25243C020B}" presName="connTx" presStyleLbl="parChTrans1D2" presStyleIdx="2" presStyleCnt="5"/>
      <dgm:spPr/>
    </dgm:pt>
    <dgm:pt modelId="{826B220B-881A-024C-BDA6-495BA0F42BE1}" type="pres">
      <dgm:prSet presAssocID="{C38274DD-2E63-AB40-BDD6-91E065FE887A}" presName="node" presStyleLbl="node1" presStyleIdx="2" presStyleCnt="5">
        <dgm:presLayoutVars>
          <dgm:bulletEnabled val="1"/>
        </dgm:presLayoutVars>
      </dgm:prSet>
      <dgm:spPr/>
    </dgm:pt>
    <dgm:pt modelId="{E72FE622-9067-4198-A2BE-FDD1B4BCFEA9}" type="pres">
      <dgm:prSet presAssocID="{1AE0DF6D-A5C7-4ABC-8CE7-376C329AC9D9}" presName="Name9" presStyleLbl="parChTrans1D2" presStyleIdx="3" presStyleCnt="5"/>
      <dgm:spPr/>
    </dgm:pt>
    <dgm:pt modelId="{979D6CD6-9C73-4510-8792-63F7C53A1C5C}" type="pres">
      <dgm:prSet presAssocID="{1AE0DF6D-A5C7-4ABC-8CE7-376C329AC9D9}" presName="connTx" presStyleLbl="parChTrans1D2" presStyleIdx="3" presStyleCnt="5"/>
      <dgm:spPr/>
    </dgm:pt>
    <dgm:pt modelId="{FE691B2B-0F26-4747-9016-A136F819822B}" type="pres">
      <dgm:prSet presAssocID="{4EF70B07-B107-483B-97C5-0734900AAEA1}" presName="node" presStyleLbl="node1" presStyleIdx="3" presStyleCnt="5">
        <dgm:presLayoutVars>
          <dgm:bulletEnabled val="1"/>
        </dgm:presLayoutVars>
      </dgm:prSet>
      <dgm:spPr/>
    </dgm:pt>
    <dgm:pt modelId="{BC464F0F-7CFC-4142-A469-4CF1B6A51B1C}" type="pres">
      <dgm:prSet presAssocID="{C795ED53-DE5C-4106-BBCD-32DED6AAE12F}" presName="Name9" presStyleLbl="parChTrans1D2" presStyleIdx="4" presStyleCnt="5"/>
      <dgm:spPr/>
    </dgm:pt>
    <dgm:pt modelId="{23A402B8-16A8-4700-9CCD-38BB51DC5B7B}" type="pres">
      <dgm:prSet presAssocID="{C795ED53-DE5C-4106-BBCD-32DED6AAE12F}" presName="connTx" presStyleLbl="parChTrans1D2" presStyleIdx="4" presStyleCnt="5"/>
      <dgm:spPr/>
    </dgm:pt>
    <dgm:pt modelId="{F6643EE5-FF53-4A99-8FF7-F706081FF127}" type="pres">
      <dgm:prSet presAssocID="{1DD14DAD-FBEA-4D0E-89D1-96E1DA3240BF}" presName="node" presStyleLbl="node1" presStyleIdx="4" presStyleCnt="5">
        <dgm:presLayoutVars>
          <dgm:bulletEnabled val="1"/>
        </dgm:presLayoutVars>
      </dgm:prSet>
      <dgm:spPr/>
    </dgm:pt>
  </dgm:ptLst>
  <dgm:cxnLst>
    <dgm:cxn modelId="{286ED016-88E0-084D-AEC9-4E27FA1E1752}" type="presOf" srcId="{C38274DD-2E63-AB40-BDD6-91E065FE887A}" destId="{826B220B-881A-024C-BDA6-495BA0F42BE1}" srcOrd="0" destOrd="0" presId="urn:microsoft.com/office/officeart/2005/8/layout/radial1"/>
    <dgm:cxn modelId="{F01D101A-E42D-4879-B472-2B490F4401B4}" type="presOf" srcId="{1DD14DAD-FBEA-4D0E-89D1-96E1DA3240BF}" destId="{F6643EE5-FF53-4A99-8FF7-F706081FF127}" srcOrd="0" destOrd="0" presId="urn:microsoft.com/office/officeart/2005/8/layout/radial1"/>
    <dgm:cxn modelId="{3BB50131-4ED0-4A5B-A700-B62CA0921718}" type="presOf" srcId="{C2C31AA2-DF67-4004-84FA-DD9DDCA63152}" destId="{24E04077-EBAF-47C4-A40E-1C9855DBC081}" srcOrd="0" destOrd="0" presId="urn:microsoft.com/office/officeart/2005/8/layout/radial1"/>
    <dgm:cxn modelId="{D50A7137-8243-4DE4-AE13-749E1A35753A}" srcId="{D8147350-C5DD-4652-88A3-1549ABE182A2}" destId="{1DD14DAD-FBEA-4D0E-89D1-96E1DA3240BF}" srcOrd="4" destOrd="0" parTransId="{C795ED53-DE5C-4106-BBCD-32DED6AAE12F}" sibTransId="{2D57D474-7C6B-4B50-A97D-A914E87E7C2C}"/>
    <dgm:cxn modelId="{FDD6643F-FA12-4C9A-85CF-191D07C9E764}" type="presOf" srcId="{C795ED53-DE5C-4106-BBCD-32DED6AAE12F}" destId="{BC464F0F-7CFC-4142-A469-4CF1B6A51B1C}" srcOrd="0" destOrd="0" presId="urn:microsoft.com/office/officeart/2005/8/layout/radial1"/>
    <dgm:cxn modelId="{D1A18963-54DB-4012-8A9A-419C4410BEEA}" type="presOf" srcId="{C795ED53-DE5C-4106-BBCD-32DED6AAE12F}" destId="{23A402B8-16A8-4700-9CCD-38BB51DC5B7B}" srcOrd="1" destOrd="0" presId="urn:microsoft.com/office/officeart/2005/8/layout/radial1"/>
    <dgm:cxn modelId="{3E58424A-616A-470B-B00D-AAFDD26F8D1C}" type="presOf" srcId="{FFF4482D-646D-4951-A27D-8ECB377299F8}" destId="{46E255CE-EACF-4C44-B8A7-40C06BE2E8B5}" srcOrd="1" destOrd="0" presId="urn:microsoft.com/office/officeart/2005/8/layout/radial1"/>
    <dgm:cxn modelId="{C7988C55-95F6-4C7C-BFFE-0D2810EDDF10}" type="presOf" srcId="{4EF70B07-B107-483B-97C5-0734900AAEA1}" destId="{FE691B2B-0F26-4747-9016-A136F819822B}" srcOrd="0" destOrd="0" presId="urn:microsoft.com/office/officeart/2005/8/layout/radial1"/>
    <dgm:cxn modelId="{DB936780-BD2F-474B-8E8C-289A4083E444}" type="presOf" srcId="{D8147350-C5DD-4652-88A3-1549ABE182A2}" destId="{26C5D1DE-960B-4F47-8A3A-C05310A2D13F}" srcOrd="0" destOrd="0" presId="urn:microsoft.com/office/officeart/2005/8/layout/radial1"/>
    <dgm:cxn modelId="{C9C5BE80-7BC7-42B0-93E1-02E77514373B}" type="presOf" srcId="{8218F445-46AA-4E00-A42E-CB8047E39D7F}" destId="{7F583FFD-8FC0-4620-AC77-A8D3CD24DCDC}" srcOrd="0" destOrd="0" presId="urn:microsoft.com/office/officeart/2005/8/layout/radial1"/>
    <dgm:cxn modelId="{3F70528A-92CE-5E46-9A65-35587EC51CEF}" type="presOf" srcId="{973B5588-0E81-914E-8346-DA25243C020B}" destId="{390E0014-E2C5-074C-A587-47B3C63C4AD2}" srcOrd="0" destOrd="0" presId="urn:microsoft.com/office/officeart/2005/8/layout/radial1"/>
    <dgm:cxn modelId="{10ED2992-C65C-46BE-A4DC-C9B02837D990}" srcId="{8218F445-46AA-4E00-A42E-CB8047E39D7F}" destId="{D8147350-C5DD-4652-88A3-1549ABE182A2}" srcOrd="0" destOrd="0" parTransId="{45740B88-0920-4372-9976-40F8038CA6A5}" sibTransId="{F9BB5190-EB76-47D9-955D-8520277BF7D8}"/>
    <dgm:cxn modelId="{B0F6E1A2-BF04-4448-993B-057D1AFB368D}" type="presOf" srcId="{5D660468-5E30-45C6-8ECA-CF6FE07A90AB}" destId="{F9B1B483-98AD-4230-9087-41BFF15BFAC3}" srcOrd="0" destOrd="0" presId="urn:microsoft.com/office/officeart/2005/8/layout/radial1"/>
    <dgm:cxn modelId="{775383A3-D737-4389-A8AA-44ADA71D26A7}" type="presOf" srcId="{44FFA4B2-F304-4D53-ACEF-EC3DD249D217}" destId="{0E3E5BA6-0CBB-42A5-8D1A-879A86AE766D}" srcOrd="0" destOrd="0" presId="urn:microsoft.com/office/officeart/2005/8/layout/radial1"/>
    <dgm:cxn modelId="{18B79BAA-C069-4397-8E1D-F824F65B3404}" srcId="{D8147350-C5DD-4652-88A3-1549ABE182A2}" destId="{4EF70B07-B107-483B-97C5-0734900AAEA1}" srcOrd="3" destOrd="0" parTransId="{1AE0DF6D-A5C7-4ABC-8CE7-376C329AC9D9}" sibTransId="{6A4FA179-6854-45F2-8D3E-7FFE1F6407DB}"/>
    <dgm:cxn modelId="{525C74BF-243C-C44B-9189-39C940B725E7}" srcId="{D8147350-C5DD-4652-88A3-1549ABE182A2}" destId="{C38274DD-2E63-AB40-BDD6-91E065FE887A}" srcOrd="2" destOrd="0" parTransId="{973B5588-0E81-914E-8346-DA25243C020B}" sibTransId="{36EDC11A-E782-364F-8870-AE0F29562189}"/>
    <dgm:cxn modelId="{943A99CB-D093-4B3A-ABF9-2EE772C1BD27}" type="presOf" srcId="{1AE0DF6D-A5C7-4ABC-8CE7-376C329AC9D9}" destId="{979D6CD6-9C73-4510-8792-63F7C53A1C5C}" srcOrd="1" destOrd="0" presId="urn:microsoft.com/office/officeart/2005/8/layout/radial1"/>
    <dgm:cxn modelId="{716E61D0-210A-4B95-A211-969DA7DDE2AE}" type="presOf" srcId="{FFF4482D-646D-4951-A27D-8ECB377299F8}" destId="{63480B0F-6297-48D3-96BA-9BCA8E99D1CF}" srcOrd="0" destOrd="0" presId="urn:microsoft.com/office/officeart/2005/8/layout/radial1"/>
    <dgm:cxn modelId="{740DB2D3-DC51-9A4E-BCBE-12F29D6A651E}" type="presOf" srcId="{973B5588-0E81-914E-8346-DA25243C020B}" destId="{B5C76352-3A59-D543-886F-0E3DE478E1C9}" srcOrd="1" destOrd="0" presId="urn:microsoft.com/office/officeart/2005/8/layout/radial1"/>
    <dgm:cxn modelId="{1C8FCCD8-CFDD-4E3F-A9BD-D3234F752594}" srcId="{D8147350-C5DD-4652-88A3-1549ABE182A2}" destId="{C2C31AA2-DF67-4004-84FA-DD9DDCA63152}" srcOrd="1" destOrd="0" parTransId="{FFF4482D-646D-4951-A27D-8ECB377299F8}" sibTransId="{993FF537-8855-49DF-B271-1E40F3EAF2D8}"/>
    <dgm:cxn modelId="{C7D8AAE8-5121-472A-99B8-2FAB153532AE}" type="presOf" srcId="{1AE0DF6D-A5C7-4ABC-8CE7-376C329AC9D9}" destId="{E72FE622-9067-4198-A2BE-FDD1B4BCFEA9}" srcOrd="0" destOrd="0" presId="urn:microsoft.com/office/officeart/2005/8/layout/radial1"/>
    <dgm:cxn modelId="{2A10B0F1-5C79-4E7D-9627-1CF8F587D45E}" srcId="{D8147350-C5DD-4652-88A3-1549ABE182A2}" destId="{5D660468-5E30-45C6-8ECA-CF6FE07A90AB}" srcOrd="0" destOrd="0" parTransId="{44FFA4B2-F304-4D53-ACEF-EC3DD249D217}" sibTransId="{33E31A31-B1B6-4078-B565-E1AD90E31353}"/>
    <dgm:cxn modelId="{257DA9F3-F6A2-4A24-8893-46ED07F1EB80}" type="presOf" srcId="{44FFA4B2-F304-4D53-ACEF-EC3DD249D217}" destId="{C1FC17B5-5FF7-4E9C-AFBD-45CFC5DCA7F1}" srcOrd="1" destOrd="0" presId="urn:microsoft.com/office/officeart/2005/8/layout/radial1"/>
    <dgm:cxn modelId="{A3956902-D89C-458F-BAC5-033D75B6B771}" type="presParOf" srcId="{7F583FFD-8FC0-4620-AC77-A8D3CD24DCDC}" destId="{26C5D1DE-960B-4F47-8A3A-C05310A2D13F}" srcOrd="0" destOrd="0" presId="urn:microsoft.com/office/officeart/2005/8/layout/radial1"/>
    <dgm:cxn modelId="{DA3371AA-A37A-4114-BF32-13211CC9C8E8}" type="presParOf" srcId="{7F583FFD-8FC0-4620-AC77-A8D3CD24DCDC}" destId="{0E3E5BA6-0CBB-42A5-8D1A-879A86AE766D}" srcOrd="1" destOrd="0" presId="urn:microsoft.com/office/officeart/2005/8/layout/radial1"/>
    <dgm:cxn modelId="{CE43EE2A-D093-40C9-AA05-486C10528AC3}" type="presParOf" srcId="{0E3E5BA6-0CBB-42A5-8D1A-879A86AE766D}" destId="{C1FC17B5-5FF7-4E9C-AFBD-45CFC5DCA7F1}" srcOrd="0" destOrd="0" presId="urn:microsoft.com/office/officeart/2005/8/layout/radial1"/>
    <dgm:cxn modelId="{6A869A6A-DE27-457A-AF93-219640712DBC}" type="presParOf" srcId="{7F583FFD-8FC0-4620-AC77-A8D3CD24DCDC}" destId="{F9B1B483-98AD-4230-9087-41BFF15BFAC3}" srcOrd="2" destOrd="0" presId="urn:microsoft.com/office/officeart/2005/8/layout/radial1"/>
    <dgm:cxn modelId="{376DA517-BB84-4470-A141-C90C1FFDA48F}" type="presParOf" srcId="{7F583FFD-8FC0-4620-AC77-A8D3CD24DCDC}" destId="{63480B0F-6297-48D3-96BA-9BCA8E99D1CF}" srcOrd="3" destOrd="0" presId="urn:microsoft.com/office/officeart/2005/8/layout/radial1"/>
    <dgm:cxn modelId="{DA2DE1F9-5B1E-444A-B18D-E7075F1BB300}" type="presParOf" srcId="{63480B0F-6297-48D3-96BA-9BCA8E99D1CF}" destId="{46E255CE-EACF-4C44-B8A7-40C06BE2E8B5}" srcOrd="0" destOrd="0" presId="urn:microsoft.com/office/officeart/2005/8/layout/radial1"/>
    <dgm:cxn modelId="{0B2E10B2-E10C-405A-9C1C-4BEFE6392862}" type="presParOf" srcId="{7F583FFD-8FC0-4620-AC77-A8D3CD24DCDC}" destId="{24E04077-EBAF-47C4-A40E-1C9855DBC081}" srcOrd="4" destOrd="0" presId="urn:microsoft.com/office/officeart/2005/8/layout/radial1"/>
    <dgm:cxn modelId="{9A81F12A-2038-2149-8BE7-88A3F079D18E}" type="presParOf" srcId="{7F583FFD-8FC0-4620-AC77-A8D3CD24DCDC}" destId="{390E0014-E2C5-074C-A587-47B3C63C4AD2}" srcOrd="5" destOrd="0" presId="urn:microsoft.com/office/officeart/2005/8/layout/radial1"/>
    <dgm:cxn modelId="{07739924-33D7-344E-9F17-3852CC05F871}" type="presParOf" srcId="{390E0014-E2C5-074C-A587-47B3C63C4AD2}" destId="{B5C76352-3A59-D543-886F-0E3DE478E1C9}" srcOrd="0" destOrd="0" presId="urn:microsoft.com/office/officeart/2005/8/layout/radial1"/>
    <dgm:cxn modelId="{7A5B3A92-A331-8F4B-955F-9B2A9FBB13A7}" type="presParOf" srcId="{7F583FFD-8FC0-4620-AC77-A8D3CD24DCDC}" destId="{826B220B-881A-024C-BDA6-495BA0F42BE1}" srcOrd="6" destOrd="0" presId="urn:microsoft.com/office/officeart/2005/8/layout/radial1"/>
    <dgm:cxn modelId="{940F1C95-88A6-40ED-9025-8262B0A1F463}" type="presParOf" srcId="{7F583FFD-8FC0-4620-AC77-A8D3CD24DCDC}" destId="{E72FE622-9067-4198-A2BE-FDD1B4BCFEA9}" srcOrd="7" destOrd="0" presId="urn:microsoft.com/office/officeart/2005/8/layout/radial1"/>
    <dgm:cxn modelId="{4EC08508-1821-422E-97F9-F58B84071500}" type="presParOf" srcId="{E72FE622-9067-4198-A2BE-FDD1B4BCFEA9}" destId="{979D6CD6-9C73-4510-8792-63F7C53A1C5C}" srcOrd="0" destOrd="0" presId="urn:microsoft.com/office/officeart/2005/8/layout/radial1"/>
    <dgm:cxn modelId="{F6850C94-B521-4FD6-9CE9-57D94E8A1762}" type="presParOf" srcId="{7F583FFD-8FC0-4620-AC77-A8D3CD24DCDC}" destId="{FE691B2B-0F26-4747-9016-A136F819822B}" srcOrd="8" destOrd="0" presId="urn:microsoft.com/office/officeart/2005/8/layout/radial1"/>
    <dgm:cxn modelId="{9A1B91E7-4628-41B0-80AF-8A530050F25F}" type="presParOf" srcId="{7F583FFD-8FC0-4620-AC77-A8D3CD24DCDC}" destId="{BC464F0F-7CFC-4142-A469-4CF1B6A51B1C}" srcOrd="9" destOrd="0" presId="urn:microsoft.com/office/officeart/2005/8/layout/radial1"/>
    <dgm:cxn modelId="{2B8F7D09-9979-461B-B56D-D437196FBF14}" type="presParOf" srcId="{BC464F0F-7CFC-4142-A469-4CF1B6A51B1C}" destId="{23A402B8-16A8-4700-9CCD-38BB51DC5B7B}" srcOrd="0" destOrd="0" presId="urn:microsoft.com/office/officeart/2005/8/layout/radial1"/>
    <dgm:cxn modelId="{A5957420-AE43-4FCF-9FAB-64EBFF45A6E5}" type="presParOf" srcId="{7F583FFD-8FC0-4620-AC77-A8D3CD24DCDC}" destId="{F6643EE5-FF53-4A99-8FF7-F706081FF127}" srcOrd="10" destOrd="0" presId="urn:microsoft.com/office/officeart/2005/8/layout/radial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5B8ACF0-15E1-4141-A57C-9F0EA8024A37}" type="doc">
      <dgm:prSet loTypeId="urn:microsoft.com/office/officeart/2005/8/layout/chevron2" loCatId="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7B61DF2-02F8-2A44-B8D6-B1035764296F}">
      <dgm:prSet phldrT="[Text]" custT="1"/>
      <dgm:spPr/>
      <dgm:t>
        <a:bodyPr/>
        <a:lstStyle/>
        <a:p>
          <a:r>
            <a:rPr lang="en-US" sz="2000"/>
            <a:t>first</a:t>
          </a:r>
          <a:endParaRPr lang="en-US" sz="2000" dirty="0"/>
        </a:p>
      </dgm:t>
    </dgm:pt>
    <dgm:pt modelId="{B8B2A5C9-DF37-764A-9FA3-EDBFE1876209}" type="sibTrans" cxnId="{AA73C0E9-8262-D749-8F59-777F8341D027}">
      <dgm:prSet/>
      <dgm:spPr/>
      <dgm:t>
        <a:bodyPr/>
        <a:lstStyle/>
        <a:p>
          <a:endParaRPr lang="en-US"/>
        </a:p>
      </dgm:t>
    </dgm:pt>
    <dgm:pt modelId="{C8E145A6-3487-4C45-B1DB-E823F61FE3FE}" type="parTrans" cxnId="{AA73C0E9-8262-D749-8F59-777F8341D027}">
      <dgm:prSet/>
      <dgm:spPr/>
      <dgm:t>
        <a:bodyPr/>
        <a:lstStyle/>
        <a:p>
          <a:endParaRPr lang="en-US"/>
        </a:p>
      </dgm:t>
    </dgm:pt>
    <dgm:pt modelId="{DF114742-A745-1248-BE76-DD1F5BC82012}">
      <dgm:prSet phldrT="[Text]" custT="1"/>
      <dgm:spPr/>
      <dgm:t>
        <a:bodyPr/>
        <a:lstStyle/>
        <a:p>
          <a:pPr>
            <a:buSzPct val="120000"/>
          </a:pPr>
          <a:r>
            <a:rPr lang="en-US" sz="2000" dirty="0"/>
            <a:t>item</a:t>
          </a:r>
        </a:p>
      </dgm:t>
    </dgm:pt>
    <dgm:pt modelId="{88F4C8D7-5222-C04D-80CB-DD126D287B84}" type="sibTrans" cxnId="{22D4D9F3-2057-8C4F-95CE-130007B15175}">
      <dgm:prSet/>
      <dgm:spPr/>
      <dgm:t>
        <a:bodyPr/>
        <a:lstStyle/>
        <a:p>
          <a:endParaRPr lang="en-US"/>
        </a:p>
      </dgm:t>
    </dgm:pt>
    <dgm:pt modelId="{8C5253AF-D0DC-F14D-860B-E0AE88BB7A77}" type="parTrans" cxnId="{22D4D9F3-2057-8C4F-95CE-130007B15175}">
      <dgm:prSet/>
      <dgm:spPr/>
      <dgm:t>
        <a:bodyPr/>
        <a:lstStyle/>
        <a:p>
          <a:endParaRPr lang="en-US"/>
        </a:p>
      </dgm:t>
    </dgm:pt>
    <dgm:pt modelId="{CF076085-CA8C-A348-83BF-AB640BCEBACF}">
      <dgm:prSet phldrT="[Text]" custT="1"/>
      <dgm:spPr/>
      <dgm:t>
        <a:bodyPr/>
        <a:lstStyle/>
        <a:p>
          <a:r>
            <a:rPr lang="en-US" sz="2000"/>
            <a:t>second</a:t>
          </a:r>
          <a:endParaRPr lang="en-US" sz="2000" dirty="0"/>
        </a:p>
      </dgm:t>
    </dgm:pt>
    <dgm:pt modelId="{67D95F5D-8FBC-724E-A3FE-D62450BFCC96}" type="sibTrans" cxnId="{521A9D47-1834-0C46-886A-4FB988A39EAA}">
      <dgm:prSet/>
      <dgm:spPr/>
      <dgm:t>
        <a:bodyPr/>
        <a:lstStyle/>
        <a:p>
          <a:endParaRPr lang="en-US"/>
        </a:p>
      </dgm:t>
    </dgm:pt>
    <dgm:pt modelId="{002F0CE2-5957-8B4E-AFE6-2CC7571AB974}" type="parTrans" cxnId="{521A9D47-1834-0C46-886A-4FB988A39EAA}">
      <dgm:prSet/>
      <dgm:spPr/>
      <dgm:t>
        <a:bodyPr/>
        <a:lstStyle/>
        <a:p>
          <a:endParaRPr lang="en-US"/>
        </a:p>
      </dgm:t>
    </dgm:pt>
    <dgm:pt modelId="{C6509C04-1485-A346-8E36-C93EE25857D7}">
      <dgm:prSet phldrT="[Text]" custT="1"/>
      <dgm:spPr/>
      <dgm:t>
        <a:bodyPr/>
        <a:lstStyle/>
        <a:p>
          <a:pPr>
            <a:buSzPct val="120000"/>
          </a:pPr>
          <a:r>
            <a:rPr lang="en-US" sz="2000" dirty="0"/>
            <a:t>item</a:t>
          </a:r>
        </a:p>
      </dgm:t>
    </dgm:pt>
    <dgm:pt modelId="{2B076C96-F6E0-D345-BFE1-0ADA4648C778}" type="sibTrans" cxnId="{C5BC6E95-3D7B-7745-A300-8C6F6D7A1260}">
      <dgm:prSet/>
      <dgm:spPr/>
      <dgm:t>
        <a:bodyPr/>
        <a:lstStyle/>
        <a:p>
          <a:endParaRPr lang="en-US"/>
        </a:p>
      </dgm:t>
    </dgm:pt>
    <dgm:pt modelId="{6E12AA28-FC12-874E-BAEA-F4FE193E62AE}" type="parTrans" cxnId="{C5BC6E95-3D7B-7745-A300-8C6F6D7A1260}">
      <dgm:prSet/>
      <dgm:spPr/>
      <dgm:t>
        <a:bodyPr/>
        <a:lstStyle/>
        <a:p>
          <a:endParaRPr lang="en-US"/>
        </a:p>
      </dgm:t>
    </dgm:pt>
    <dgm:pt modelId="{01D7CEF1-3A3F-5C49-BF72-E4C92077CC39}">
      <dgm:prSet phldrT="[Text]" custT="1"/>
      <dgm:spPr/>
      <dgm:t>
        <a:bodyPr/>
        <a:lstStyle/>
        <a:p>
          <a:r>
            <a:rPr lang="en-US" sz="2000"/>
            <a:t>third</a:t>
          </a:r>
          <a:endParaRPr lang="en-US" sz="3300" dirty="0"/>
        </a:p>
      </dgm:t>
    </dgm:pt>
    <dgm:pt modelId="{6B394C09-F344-2240-852B-49C3D4D1D2CF}" type="sibTrans" cxnId="{A335E2D0-614B-114D-B03F-C5783D611A6F}">
      <dgm:prSet/>
      <dgm:spPr/>
      <dgm:t>
        <a:bodyPr/>
        <a:lstStyle/>
        <a:p>
          <a:endParaRPr lang="en-US"/>
        </a:p>
      </dgm:t>
    </dgm:pt>
    <dgm:pt modelId="{2A5CF758-384F-0848-958D-31D0DA7AD0A2}" type="parTrans" cxnId="{A335E2D0-614B-114D-B03F-C5783D611A6F}">
      <dgm:prSet/>
      <dgm:spPr/>
      <dgm:t>
        <a:bodyPr/>
        <a:lstStyle/>
        <a:p>
          <a:endParaRPr lang="en-US"/>
        </a:p>
      </dgm:t>
    </dgm:pt>
    <dgm:pt modelId="{054F5497-2592-634F-8073-813FD2745D7B}">
      <dgm:prSet phldrT="[Text]" custT="1"/>
      <dgm:spPr/>
      <dgm:t>
        <a:bodyPr/>
        <a:lstStyle/>
        <a:p>
          <a:pPr>
            <a:buSzPct val="120000"/>
          </a:pPr>
          <a:r>
            <a:rPr lang="en-US" sz="2000" dirty="0"/>
            <a:t>item</a:t>
          </a:r>
        </a:p>
      </dgm:t>
    </dgm:pt>
    <dgm:pt modelId="{20983582-F262-3D43-BA82-01EFE5053C85}" type="sibTrans" cxnId="{7C9C0C93-7EC9-B641-97E0-62554BC0ACB2}">
      <dgm:prSet/>
      <dgm:spPr/>
      <dgm:t>
        <a:bodyPr/>
        <a:lstStyle/>
        <a:p>
          <a:endParaRPr lang="en-US"/>
        </a:p>
      </dgm:t>
    </dgm:pt>
    <dgm:pt modelId="{03389E98-B40B-E445-89CC-3DCE74C8B39C}" type="parTrans" cxnId="{7C9C0C93-7EC9-B641-97E0-62554BC0ACB2}">
      <dgm:prSet/>
      <dgm:spPr/>
      <dgm:t>
        <a:bodyPr/>
        <a:lstStyle/>
        <a:p>
          <a:endParaRPr lang="en-US"/>
        </a:p>
      </dgm:t>
    </dgm:pt>
    <dgm:pt modelId="{13D92BA4-7C5F-DF4E-9C6D-8F6714763E62}" type="pres">
      <dgm:prSet presAssocID="{15B8ACF0-15E1-4141-A57C-9F0EA8024A37}" presName="linearFlow" presStyleCnt="0">
        <dgm:presLayoutVars>
          <dgm:dir/>
          <dgm:animLvl val="lvl"/>
          <dgm:resizeHandles val="exact"/>
        </dgm:presLayoutVars>
      </dgm:prSet>
      <dgm:spPr/>
    </dgm:pt>
    <dgm:pt modelId="{2DF31077-F2B9-E444-8B43-BFAF6F40B06A}" type="pres">
      <dgm:prSet presAssocID="{A7B61DF2-02F8-2A44-B8D6-B1035764296F}" presName="composite" presStyleCnt="0"/>
      <dgm:spPr/>
    </dgm:pt>
    <dgm:pt modelId="{726F7C78-1A79-664A-AEA2-A3F41B27742D}" type="pres">
      <dgm:prSet presAssocID="{A7B61DF2-02F8-2A44-B8D6-B1035764296F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DB07FBC4-77EE-9246-8375-2BD0CFB8CA55}" type="pres">
      <dgm:prSet presAssocID="{A7B61DF2-02F8-2A44-B8D6-B1035764296F}" presName="descendantText" presStyleLbl="alignAcc1" presStyleIdx="0" presStyleCnt="3">
        <dgm:presLayoutVars>
          <dgm:bulletEnabled val="1"/>
        </dgm:presLayoutVars>
      </dgm:prSet>
      <dgm:spPr/>
    </dgm:pt>
    <dgm:pt modelId="{31B7863D-D92C-4B40-818A-41B62F5CB31D}" type="pres">
      <dgm:prSet presAssocID="{B8B2A5C9-DF37-764A-9FA3-EDBFE1876209}" presName="sp" presStyleCnt="0"/>
      <dgm:spPr/>
    </dgm:pt>
    <dgm:pt modelId="{EFC373F0-8C42-0B45-A3AA-B4A4CF47F7ED}" type="pres">
      <dgm:prSet presAssocID="{CF076085-CA8C-A348-83BF-AB640BCEBACF}" presName="composite" presStyleCnt="0"/>
      <dgm:spPr/>
    </dgm:pt>
    <dgm:pt modelId="{FA894628-02EC-6743-AA28-4467F0DF0793}" type="pres">
      <dgm:prSet presAssocID="{CF076085-CA8C-A348-83BF-AB640BCEBACF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ED9781FA-600E-2A4F-97AC-4D3D53969C67}" type="pres">
      <dgm:prSet presAssocID="{CF076085-CA8C-A348-83BF-AB640BCEBACF}" presName="descendantText" presStyleLbl="alignAcc1" presStyleIdx="1" presStyleCnt="3">
        <dgm:presLayoutVars>
          <dgm:bulletEnabled val="1"/>
        </dgm:presLayoutVars>
      </dgm:prSet>
      <dgm:spPr/>
    </dgm:pt>
    <dgm:pt modelId="{89815748-2403-8646-AD4E-B62CF0AE3287}" type="pres">
      <dgm:prSet presAssocID="{67D95F5D-8FBC-724E-A3FE-D62450BFCC96}" presName="sp" presStyleCnt="0"/>
      <dgm:spPr/>
    </dgm:pt>
    <dgm:pt modelId="{EB8D5479-AA4B-BE43-8D56-1926894C53DF}" type="pres">
      <dgm:prSet presAssocID="{01D7CEF1-3A3F-5C49-BF72-E4C92077CC39}" presName="composite" presStyleCnt="0"/>
      <dgm:spPr/>
    </dgm:pt>
    <dgm:pt modelId="{519192BF-E44D-DA4C-882D-00DEDF2C80DF}" type="pres">
      <dgm:prSet presAssocID="{01D7CEF1-3A3F-5C49-BF72-E4C92077CC39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80430ABE-6C28-1644-BF3B-C8D8485A5A8C}" type="pres">
      <dgm:prSet presAssocID="{01D7CEF1-3A3F-5C49-BF72-E4C92077CC39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2EAC9402-EEC5-634A-AC9B-A71B32E71E79}" type="presOf" srcId="{C6509C04-1485-A346-8E36-C93EE25857D7}" destId="{ED9781FA-600E-2A4F-97AC-4D3D53969C67}" srcOrd="0" destOrd="0" presId="urn:microsoft.com/office/officeart/2005/8/layout/chevron2"/>
    <dgm:cxn modelId="{735D8327-927A-AD41-8F25-FC0B41694F8A}" type="presOf" srcId="{CF076085-CA8C-A348-83BF-AB640BCEBACF}" destId="{FA894628-02EC-6743-AA28-4467F0DF0793}" srcOrd="0" destOrd="0" presId="urn:microsoft.com/office/officeart/2005/8/layout/chevron2"/>
    <dgm:cxn modelId="{E8700263-D2A5-5540-AA67-8BEEFD9810D7}" type="presOf" srcId="{15B8ACF0-15E1-4141-A57C-9F0EA8024A37}" destId="{13D92BA4-7C5F-DF4E-9C6D-8F6714763E62}" srcOrd="0" destOrd="0" presId="urn:microsoft.com/office/officeart/2005/8/layout/chevron2"/>
    <dgm:cxn modelId="{521A9D47-1834-0C46-886A-4FB988A39EAA}" srcId="{15B8ACF0-15E1-4141-A57C-9F0EA8024A37}" destId="{CF076085-CA8C-A348-83BF-AB640BCEBACF}" srcOrd="1" destOrd="0" parTransId="{002F0CE2-5957-8B4E-AFE6-2CC7571AB974}" sibTransId="{67D95F5D-8FBC-724E-A3FE-D62450BFCC96}"/>
    <dgm:cxn modelId="{0FD76950-B622-6746-866E-F51F110DCED1}" type="presOf" srcId="{054F5497-2592-634F-8073-813FD2745D7B}" destId="{80430ABE-6C28-1644-BF3B-C8D8485A5A8C}" srcOrd="0" destOrd="0" presId="urn:microsoft.com/office/officeart/2005/8/layout/chevron2"/>
    <dgm:cxn modelId="{36A18E87-20AC-F742-A965-FF8A0B6F8CB3}" type="presOf" srcId="{01D7CEF1-3A3F-5C49-BF72-E4C92077CC39}" destId="{519192BF-E44D-DA4C-882D-00DEDF2C80DF}" srcOrd="0" destOrd="0" presId="urn:microsoft.com/office/officeart/2005/8/layout/chevron2"/>
    <dgm:cxn modelId="{7C9C0C93-7EC9-B641-97E0-62554BC0ACB2}" srcId="{01D7CEF1-3A3F-5C49-BF72-E4C92077CC39}" destId="{054F5497-2592-634F-8073-813FD2745D7B}" srcOrd="0" destOrd="0" parTransId="{03389E98-B40B-E445-89CC-3DCE74C8B39C}" sibTransId="{20983582-F262-3D43-BA82-01EFE5053C85}"/>
    <dgm:cxn modelId="{C5BC6E95-3D7B-7745-A300-8C6F6D7A1260}" srcId="{CF076085-CA8C-A348-83BF-AB640BCEBACF}" destId="{C6509C04-1485-A346-8E36-C93EE25857D7}" srcOrd="0" destOrd="0" parTransId="{6E12AA28-FC12-874E-BAEA-F4FE193E62AE}" sibTransId="{2B076C96-F6E0-D345-BFE1-0ADA4648C778}"/>
    <dgm:cxn modelId="{A335E2D0-614B-114D-B03F-C5783D611A6F}" srcId="{15B8ACF0-15E1-4141-A57C-9F0EA8024A37}" destId="{01D7CEF1-3A3F-5C49-BF72-E4C92077CC39}" srcOrd="2" destOrd="0" parTransId="{2A5CF758-384F-0848-958D-31D0DA7AD0A2}" sibTransId="{6B394C09-F344-2240-852B-49C3D4D1D2CF}"/>
    <dgm:cxn modelId="{AA73C0E9-8262-D749-8F59-777F8341D027}" srcId="{15B8ACF0-15E1-4141-A57C-9F0EA8024A37}" destId="{A7B61DF2-02F8-2A44-B8D6-B1035764296F}" srcOrd="0" destOrd="0" parTransId="{C8E145A6-3487-4C45-B1DB-E823F61FE3FE}" sibTransId="{B8B2A5C9-DF37-764A-9FA3-EDBFE1876209}"/>
    <dgm:cxn modelId="{7D14FFE9-BE54-0042-BBC8-57DDD8257D8A}" type="presOf" srcId="{A7B61DF2-02F8-2A44-B8D6-B1035764296F}" destId="{726F7C78-1A79-664A-AEA2-A3F41B27742D}" srcOrd="0" destOrd="0" presId="urn:microsoft.com/office/officeart/2005/8/layout/chevron2"/>
    <dgm:cxn modelId="{22D4D9F3-2057-8C4F-95CE-130007B15175}" srcId="{A7B61DF2-02F8-2A44-B8D6-B1035764296F}" destId="{DF114742-A745-1248-BE76-DD1F5BC82012}" srcOrd="0" destOrd="0" parTransId="{8C5253AF-D0DC-F14D-860B-E0AE88BB7A77}" sibTransId="{88F4C8D7-5222-C04D-80CB-DD126D287B84}"/>
    <dgm:cxn modelId="{037052F4-A49D-BB45-896C-E36CF64F8A84}" type="presOf" srcId="{DF114742-A745-1248-BE76-DD1F5BC82012}" destId="{DB07FBC4-77EE-9246-8375-2BD0CFB8CA55}" srcOrd="0" destOrd="0" presId="urn:microsoft.com/office/officeart/2005/8/layout/chevron2"/>
    <dgm:cxn modelId="{A624C46D-F8A9-C54E-BFDC-43FDD8043C7B}" type="presParOf" srcId="{13D92BA4-7C5F-DF4E-9C6D-8F6714763E62}" destId="{2DF31077-F2B9-E444-8B43-BFAF6F40B06A}" srcOrd="0" destOrd="0" presId="urn:microsoft.com/office/officeart/2005/8/layout/chevron2"/>
    <dgm:cxn modelId="{F7E64950-4D12-4347-A870-4818E8F73DB1}" type="presParOf" srcId="{2DF31077-F2B9-E444-8B43-BFAF6F40B06A}" destId="{726F7C78-1A79-664A-AEA2-A3F41B27742D}" srcOrd="0" destOrd="0" presId="urn:microsoft.com/office/officeart/2005/8/layout/chevron2"/>
    <dgm:cxn modelId="{1825961A-BBB5-8343-B682-85090463FF6A}" type="presParOf" srcId="{2DF31077-F2B9-E444-8B43-BFAF6F40B06A}" destId="{DB07FBC4-77EE-9246-8375-2BD0CFB8CA55}" srcOrd="1" destOrd="0" presId="urn:microsoft.com/office/officeart/2005/8/layout/chevron2"/>
    <dgm:cxn modelId="{4EE89563-A0D6-B448-B791-AFCCD03A6AB0}" type="presParOf" srcId="{13D92BA4-7C5F-DF4E-9C6D-8F6714763E62}" destId="{31B7863D-D92C-4B40-818A-41B62F5CB31D}" srcOrd="1" destOrd="0" presId="urn:microsoft.com/office/officeart/2005/8/layout/chevron2"/>
    <dgm:cxn modelId="{C1535BC9-9D6E-AD4F-9D6D-18C9F7BC0B1A}" type="presParOf" srcId="{13D92BA4-7C5F-DF4E-9C6D-8F6714763E62}" destId="{EFC373F0-8C42-0B45-A3AA-B4A4CF47F7ED}" srcOrd="2" destOrd="0" presId="urn:microsoft.com/office/officeart/2005/8/layout/chevron2"/>
    <dgm:cxn modelId="{7D5F089C-98C4-A14A-9026-65F3A02757DA}" type="presParOf" srcId="{EFC373F0-8C42-0B45-A3AA-B4A4CF47F7ED}" destId="{FA894628-02EC-6743-AA28-4467F0DF0793}" srcOrd="0" destOrd="0" presId="urn:microsoft.com/office/officeart/2005/8/layout/chevron2"/>
    <dgm:cxn modelId="{1397ECFD-5EA5-5340-9DAA-660ACAD163CD}" type="presParOf" srcId="{EFC373F0-8C42-0B45-A3AA-B4A4CF47F7ED}" destId="{ED9781FA-600E-2A4F-97AC-4D3D53969C67}" srcOrd="1" destOrd="0" presId="urn:microsoft.com/office/officeart/2005/8/layout/chevron2"/>
    <dgm:cxn modelId="{6BB19966-BAE7-674A-B4CD-E782C80EA9B6}" type="presParOf" srcId="{13D92BA4-7C5F-DF4E-9C6D-8F6714763E62}" destId="{89815748-2403-8646-AD4E-B62CF0AE3287}" srcOrd="3" destOrd="0" presId="urn:microsoft.com/office/officeart/2005/8/layout/chevron2"/>
    <dgm:cxn modelId="{FB455012-3452-694E-BF39-F2A8B0A321C1}" type="presParOf" srcId="{13D92BA4-7C5F-DF4E-9C6D-8F6714763E62}" destId="{EB8D5479-AA4B-BE43-8D56-1926894C53DF}" srcOrd="4" destOrd="0" presId="urn:microsoft.com/office/officeart/2005/8/layout/chevron2"/>
    <dgm:cxn modelId="{828F81AB-30EB-F948-AC29-119EFA91069C}" type="presParOf" srcId="{EB8D5479-AA4B-BE43-8D56-1926894C53DF}" destId="{519192BF-E44D-DA4C-882D-00DEDF2C80DF}" srcOrd="0" destOrd="0" presId="urn:microsoft.com/office/officeart/2005/8/layout/chevron2"/>
    <dgm:cxn modelId="{45FC8314-7AB8-6144-AA57-5F83E35BFB63}" type="presParOf" srcId="{EB8D5479-AA4B-BE43-8D56-1926894C53DF}" destId="{80430ABE-6C28-1644-BF3B-C8D8485A5A8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C5D1DE-960B-4F47-8A3A-C05310A2D13F}">
      <dsp:nvSpPr>
        <dsp:cNvPr id="0" name=""/>
        <dsp:cNvSpPr/>
      </dsp:nvSpPr>
      <dsp:spPr>
        <a:xfrm>
          <a:off x="2748774" y="1742017"/>
          <a:ext cx="1325526" cy="1325526"/>
        </a:xfrm>
        <a:prstGeom prst="ellipse">
          <a:avLst/>
        </a:prstGeom>
        <a:solidFill>
          <a:schemeClr val="accent6">
            <a:lumMod val="7500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Element</a:t>
          </a:r>
          <a:endParaRPr lang="en-US" sz="1100" kern="1200" dirty="0"/>
        </a:p>
      </dsp:txBody>
      <dsp:txXfrm>
        <a:off x="2942893" y="1936136"/>
        <a:ext cx="937288" cy="937288"/>
      </dsp:txXfrm>
    </dsp:sp>
    <dsp:sp modelId="{0E3E5BA6-0CBB-42A5-8D1A-879A86AE766D}">
      <dsp:nvSpPr>
        <dsp:cNvPr id="0" name=""/>
        <dsp:cNvSpPr/>
      </dsp:nvSpPr>
      <dsp:spPr>
        <a:xfrm rot="16200000">
          <a:off x="3211302" y="1524298"/>
          <a:ext cx="400469" cy="34968"/>
        </a:xfrm>
        <a:custGeom>
          <a:avLst/>
          <a:gdLst/>
          <a:ahLst/>
          <a:cxnLst/>
          <a:rect l="0" t="0" r="0" b="0"/>
          <a:pathLst>
            <a:path>
              <a:moveTo>
                <a:pt x="0" y="17484"/>
              </a:moveTo>
              <a:lnTo>
                <a:pt x="400469" y="17484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400" kern="1200"/>
        </a:p>
      </dsp:txBody>
      <dsp:txXfrm>
        <a:off x="3401525" y="1531770"/>
        <a:ext cx="20023" cy="20023"/>
      </dsp:txXfrm>
    </dsp:sp>
    <dsp:sp modelId="{F9B1B483-98AD-4230-9087-41BFF15BFAC3}">
      <dsp:nvSpPr>
        <dsp:cNvPr id="0" name=""/>
        <dsp:cNvSpPr/>
      </dsp:nvSpPr>
      <dsp:spPr>
        <a:xfrm>
          <a:off x="2748774" y="16021"/>
          <a:ext cx="1325526" cy="1325526"/>
        </a:xfrm>
        <a:prstGeom prst="ellips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elem</a:t>
          </a:r>
          <a:endParaRPr lang="en-US" sz="2000" kern="1200" dirty="0"/>
        </a:p>
      </dsp:txBody>
      <dsp:txXfrm>
        <a:off x="2942893" y="210140"/>
        <a:ext cx="937288" cy="937288"/>
      </dsp:txXfrm>
    </dsp:sp>
    <dsp:sp modelId="{63480B0F-6297-48D3-96BA-9BCA8E99D1CF}">
      <dsp:nvSpPr>
        <dsp:cNvPr id="0" name=""/>
        <dsp:cNvSpPr/>
      </dsp:nvSpPr>
      <dsp:spPr>
        <a:xfrm rot="20520000">
          <a:off x="4032062" y="2120615"/>
          <a:ext cx="400469" cy="34968"/>
        </a:xfrm>
        <a:custGeom>
          <a:avLst/>
          <a:gdLst/>
          <a:ahLst/>
          <a:cxnLst/>
          <a:rect l="0" t="0" r="0" b="0"/>
          <a:pathLst>
            <a:path>
              <a:moveTo>
                <a:pt x="0" y="17484"/>
              </a:moveTo>
              <a:lnTo>
                <a:pt x="400469" y="17484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400" kern="1200"/>
        </a:p>
      </dsp:txBody>
      <dsp:txXfrm>
        <a:off x="4222285" y="2128087"/>
        <a:ext cx="20023" cy="20023"/>
      </dsp:txXfrm>
    </dsp:sp>
    <dsp:sp modelId="{24E04077-EBAF-47C4-A40E-1C9855DBC081}">
      <dsp:nvSpPr>
        <dsp:cNvPr id="0" name=""/>
        <dsp:cNvSpPr/>
      </dsp:nvSpPr>
      <dsp:spPr>
        <a:xfrm>
          <a:off x="4390293" y="1208655"/>
          <a:ext cx="1325526" cy="1325526"/>
        </a:xfrm>
        <a:prstGeom prst="ellipse">
          <a:avLst/>
        </a:prstGeom>
        <a:solidFill>
          <a:schemeClr val="accent2">
            <a:shade val="80000"/>
            <a:hueOff val="69053"/>
            <a:satOff val="657"/>
            <a:lumOff val="5963"/>
            <a:alphaOff val="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elem</a:t>
          </a:r>
          <a:endParaRPr lang="en-US" sz="2000" kern="1200" dirty="0"/>
        </a:p>
      </dsp:txBody>
      <dsp:txXfrm>
        <a:off x="4584412" y="1402774"/>
        <a:ext cx="937288" cy="937288"/>
      </dsp:txXfrm>
    </dsp:sp>
    <dsp:sp modelId="{390E0014-E2C5-074C-A587-47B3C63C4AD2}">
      <dsp:nvSpPr>
        <dsp:cNvPr id="0" name=""/>
        <dsp:cNvSpPr/>
      </dsp:nvSpPr>
      <dsp:spPr>
        <a:xfrm rot="3240000">
          <a:off x="3718560" y="3085475"/>
          <a:ext cx="400469" cy="34968"/>
        </a:xfrm>
        <a:custGeom>
          <a:avLst/>
          <a:gdLst/>
          <a:ahLst/>
          <a:cxnLst/>
          <a:rect l="0" t="0" r="0" b="0"/>
          <a:pathLst>
            <a:path>
              <a:moveTo>
                <a:pt x="0" y="17484"/>
              </a:moveTo>
              <a:lnTo>
                <a:pt x="400469" y="17484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400" kern="1200"/>
        </a:p>
      </dsp:txBody>
      <dsp:txXfrm>
        <a:off x="3908783" y="3092948"/>
        <a:ext cx="20023" cy="20023"/>
      </dsp:txXfrm>
    </dsp:sp>
    <dsp:sp modelId="{826B220B-881A-024C-BDA6-495BA0F42BE1}">
      <dsp:nvSpPr>
        <dsp:cNvPr id="0" name=""/>
        <dsp:cNvSpPr/>
      </dsp:nvSpPr>
      <dsp:spPr>
        <a:xfrm>
          <a:off x="3763289" y="3138377"/>
          <a:ext cx="1325526" cy="1325526"/>
        </a:xfrm>
        <a:prstGeom prst="ellipse">
          <a:avLst/>
        </a:prstGeom>
        <a:solidFill>
          <a:schemeClr val="accent2">
            <a:shade val="80000"/>
            <a:hueOff val="138105"/>
            <a:satOff val="1313"/>
            <a:lumOff val="11926"/>
            <a:alphaOff val="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elem</a:t>
          </a:r>
          <a:endParaRPr lang="en-US" sz="2000" kern="1200" dirty="0"/>
        </a:p>
      </dsp:txBody>
      <dsp:txXfrm>
        <a:off x="3957408" y="3332496"/>
        <a:ext cx="937288" cy="937288"/>
      </dsp:txXfrm>
    </dsp:sp>
    <dsp:sp modelId="{E72FE622-9067-4198-A2BE-FDD1B4BCFEA9}">
      <dsp:nvSpPr>
        <dsp:cNvPr id="0" name=""/>
        <dsp:cNvSpPr/>
      </dsp:nvSpPr>
      <dsp:spPr>
        <a:xfrm rot="7560000">
          <a:off x="2704045" y="3085475"/>
          <a:ext cx="400469" cy="34968"/>
        </a:xfrm>
        <a:custGeom>
          <a:avLst/>
          <a:gdLst/>
          <a:ahLst/>
          <a:cxnLst/>
          <a:rect l="0" t="0" r="0" b="0"/>
          <a:pathLst>
            <a:path>
              <a:moveTo>
                <a:pt x="0" y="17484"/>
              </a:moveTo>
              <a:lnTo>
                <a:pt x="400469" y="17484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400" kern="1200"/>
        </a:p>
      </dsp:txBody>
      <dsp:txXfrm rot="10800000">
        <a:off x="2894268" y="3092948"/>
        <a:ext cx="20023" cy="20023"/>
      </dsp:txXfrm>
    </dsp:sp>
    <dsp:sp modelId="{FE691B2B-0F26-4747-9016-A136F819822B}">
      <dsp:nvSpPr>
        <dsp:cNvPr id="0" name=""/>
        <dsp:cNvSpPr/>
      </dsp:nvSpPr>
      <dsp:spPr>
        <a:xfrm>
          <a:off x="1734259" y="3138377"/>
          <a:ext cx="1325526" cy="1325526"/>
        </a:xfrm>
        <a:prstGeom prst="ellipse">
          <a:avLst/>
        </a:prstGeom>
        <a:solidFill>
          <a:schemeClr val="accent2">
            <a:shade val="80000"/>
            <a:hueOff val="207158"/>
            <a:satOff val="1970"/>
            <a:lumOff val="17890"/>
            <a:alphaOff val="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elem</a:t>
          </a:r>
          <a:endParaRPr lang="en-US" sz="2000" kern="1200" dirty="0"/>
        </a:p>
      </dsp:txBody>
      <dsp:txXfrm>
        <a:off x="1928378" y="3332496"/>
        <a:ext cx="937288" cy="937288"/>
      </dsp:txXfrm>
    </dsp:sp>
    <dsp:sp modelId="{BC464F0F-7CFC-4142-A469-4CF1B6A51B1C}">
      <dsp:nvSpPr>
        <dsp:cNvPr id="0" name=""/>
        <dsp:cNvSpPr/>
      </dsp:nvSpPr>
      <dsp:spPr>
        <a:xfrm rot="11880000">
          <a:off x="2390543" y="2120615"/>
          <a:ext cx="400469" cy="34968"/>
        </a:xfrm>
        <a:custGeom>
          <a:avLst/>
          <a:gdLst/>
          <a:ahLst/>
          <a:cxnLst/>
          <a:rect l="0" t="0" r="0" b="0"/>
          <a:pathLst>
            <a:path>
              <a:moveTo>
                <a:pt x="0" y="17484"/>
              </a:moveTo>
              <a:lnTo>
                <a:pt x="400469" y="17484"/>
              </a:lnTo>
            </a:path>
          </a:pathLst>
        </a:cu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400" kern="1200"/>
        </a:p>
      </dsp:txBody>
      <dsp:txXfrm rot="10800000">
        <a:off x="2580766" y="2128087"/>
        <a:ext cx="20023" cy="20023"/>
      </dsp:txXfrm>
    </dsp:sp>
    <dsp:sp modelId="{F6643EE5-FF53-4A99-8FF7-F706081FF127}">
      <dsp:nvSpPr>
        <dsp:cNvPr id="0" name=""/>
        <dsp:cNvSpPr/>
      </dsp:nvSpPr>
      <dsp:spPr>
        <a:xfrm>
          <a:off x="1107255" y="1208655"/>
          <a:ext cx="1325526" cy="1325526"/>
        </a:xfrm>
        <a:prstGeom prst="ellipse">
          <a:avLst/>
        </a:prstGeom>
        <a:solidFill>
          <a:schemeClr val="accent2">
            <a:shade val="80000"/>
            <a:hueOff val="276210"/>
            <a:satOff val="2626"/>
            <a:lumOff val="23853"/>
            <a:alphaOff val="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elem</a:t>
          </a:r>
          <a:endParaRPr lang="en-US" sz="2000" kern="1200" dirty="0"/>
        </a:p>
      </dsp:txBody>
      <dsp:txXfrm>
        <a:off x="1301374" y="1402774"/>
        <a:ext cx="937288" cy="9372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6F7C78-1A79-664A-AEA2-A3F41B27742D}">
      <dsp:nvSpPr>
        <dsp:cNvPr id="0" name=""/>
        <dsp:cNvSpPr/>
      </dsp:nvSpPr>
      <dsp:spPr>
        <a:xfrm rot="5400000">
          <a:off x="-243155" y="245555"/>
          <a:ext cx="1621035" cy="1134725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first</a:t>
          </a:r>
          <a:endParaRPr lang="en-US" sz="2000" kern="1200" dirty="0"/>
        </a:p>
      </dsp:txBody>
      <dsp:txXfrm rot="-5400000">
        <a:off x="1" y="569763"/>
        <a:ext cx="1134725" cy="486310"/>
      </dsp:txXfrm>
    </dsp:sp>
    <dsp:sp modelId="{DB07FBC4-77EE-9246-8375-2BD0CFB8CA55}">
      <dsp:nvSpPr>
        <dsp:cNvPr id="0" name=""/>
        <dsp:cNvSpPr/>
      </dsp:nvSpPr>
      <dsp:spPr>
        <a:xfrm rot="5400000">
          <a:off x="3616753" y="-2479628"/>
          <a:ext cx="1053673" cy="601773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SzPct val="120000"/>
            <a:buChar char="•"/>
          </a:pPr>
          <a:r>
            <a:rPr lang="en-US" sz="2000" kern="1200" dirty="0"/>
            <a:t>item</a:t>
          </a:r>
        </a:p>
      </dsp:txBody>
      <dsp:txXfrm rot="-5400000">
        <a:off x="1134725" y="53836"/>
        <a:ext cx="5966294" cy="950801"/>
      </dsp:txXfrm>
    </dsp:sp>
    <dsp:sp modelId="{FA894628-02EC-6743-AA28-4467F0DF0793}">
      <dsp:nvSpPr>
        <dsp:cNvPr id="0" name=""/>
        <dsp:cNvSpPr/>
      </dsp:nvSpPr>
      <dsp:spPr>
        <a:xfrm rot="5400000">
          <a:off x="-243155" y="1672773"/>
          <a:ext cx="1621035" cy="1134725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second</a:t>
          </a:r>
          <a:endParaRPr lang="en-US" sz="2000" kern="1200" dirty="0"/>
        </a:p>
      </dsp:txBody>
      <dsp:txXfrm rot="-5400000">
        <a:off x="1" y="1996981"/>
        <a:ext cx="1134725" cy="486310"/>
      </dsp:txXfrm>
    </dsp:sp>
    <dsp:sp modelId="{ED9781FA-600E-2A4F-97AC-4D3D53969C67}">
      <dsp:nvSpPr>
        <dsp:cNvPr id="0" name=""/>
        <dsp:cNvSpPr/>
      </dsp:nvSpPr>
      <dsp:spPr>
        <a:xfrm rot="5400000">
          <a:off x="3616753" y="-1052410"/>
          <a:ext cx="1053673" cy="601773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SzPct val="120000"/>
            <a:buChar char="•"/>
          </a:pPr>
          <a:r>
            <a:rPr lang="en-US" sz="2000" kern="1200" dirty="0"/>
            <a:t>item</a:t>
          </a:r>
        </a:p>
      </dsp:txBody>
      <dsp:txXfrm rot="-5400000">
        <a:off x="1134725" y="1481054"/>
        <a:ext cx="5966294" cy="950801"/>
      </dsp:txXfrm>
    </dsp:sp>
    <dsp:sp modelId="{519192BF-E44D-DA4C-882D-00DEDF2C80DF}">
      <dsp:nvSpPr>
        <dsp:cNvPr id="0" name=""/>
        <dsp:cNvSpPr/>
      </dsp:nvSpPr>
      <dsp:spPr>
        <a:xfrm rot="5400000">
          <a:off x="-243155" y="3099991"/>
          <a:ext cx="1621035" cy="1134725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third</a:t>
          </a:r>
          <a:endParaRPr lang="en-US" sz="3300" kern="1200" dirty="0"/>
        </a:p>
      </dsp:txBody>
      <dsp:txXfrm rot="-5400000">
        <a:off x="1" y="3424199"/>
        <a:ext cx="1134725" cy="486310"/>
      </dsp:txXfrm>
    </dsp:sp>
    <dsp:sp modelId="{80430ABE-6C28-1644-BF3B-C8D8485A5A8C}">
      <dsp:nvSpPr>
        <dsp:cNvPr id="0" name=""/>
        <dsp:cNvSpPr/>
      </dsp:nvSpPr>
      <dsp:spPr>
        <a:xfrm rot="5400000">
          <a:off x="3616753" y="374807"/>
          <a:ext cx="1053673" cy="601773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SzPct val="120000"/>
            <a:buChar char="•"/>
          </a:pPr>
          <a:r>
            <a:rPr lang="en-US" sz="2000" kern="1200" dirty="0"/>
            <a:t>item</a:t>
          </a:r>
        </a:p>
      </dsp:txBody>
      <dsp:txXfrm rot="-5400000">
        <a:off x="1134725" y="2908271"/>
        <a:ext cx="5966294" cy="9508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90500" y="387350"/>
            <a:ext cx="5403850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800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300"/>
              </a:lnSpc>
              <a:defRPr sz="1000" b="1">
                <a:latin typeface="Stafford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0500" y="8567738"/>
            <a:ext cx="13303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b="1">
                <a:latin typeface="Stafford" charset="0"/>
              </a:defRPr>
            </a:lvl1pPr>
          </a:lstStyle>
          <a:p>
            <a:pPr>
              <a:defRPr/>
            </a:pPr>
            <a:fld id="{12A0165B-861D-436C-8BFA-AAC7FBA40842}" type="datetime4">
              <a:rPr lang="de-DE" smtClean="0"/>
              <a:t>1. März 2023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20825" y="8567738"/>
            <a:ext cx="44640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b="1">
                <a:latin typeface="Stafford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99163" y="8567738"/>
            <a:ext cx="6699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latin typeface="Stafford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|  </a:t>
            </a:r>
            <a:fld id="{72DEC935-2C8C-4A42-BD4D-ADAF7EAF55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9462" name="Picture 6" descr="tud_log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400" y="360363"/>
            <a:ext cx="928688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Rectangle 7"/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>
              <a:ea typeface="+mn-ea"/>
              <a:cs typeface="Arial" panose="020B0604020202020204" pitchFamily="34" charset="0"/>
            </a:endParaRPr>
          </a:p>
        </p:txBody>
      </p:sp>
      <p:sp>
        <p:nvSpPr>
          <p:cNvPr id="19464" name="Line 8"/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9465" name="Line 9"/>
          <p:cNvSpPr>
            <a:spLocks noChangeShapeType="1"/>
          </p:cNvSpPr>
          <p:nvPr/>
        </p:nvSpPr>
        <p:spPr bwMode="auto">
          <a:xfrm>
            <a:off x="190500" y="849630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9466" name="Line 10"/>
          <p:cNvSpPr>
            <a:spLocks noChangeShapeType="1"/>
          </p:cNvSpPr>
          <p:nvPr/>
        </p:nvSpPr>
        <p:spPr bwMode="auto">
          <a:xfrm>
            <a:off x="188913" y="777875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146978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13" descr="tud_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463" y="360363"/>
            <a:ext cx="935037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8913" y="8685213"/>
            <a:ext cx="16192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300"/>
              </a:lnSpc>
              <a:defRPr sz="1000">
                <a:latin typeface="Stafford" charset="0"/>
              </a:defRPr>
            </a:lvl1pPr>
          </a:lstStyle>
          <a:p>
            <a:pPr>
              <a:defRPr/>
            </a:pPr>
            <a:fld id="{1E34EA1C-062D-4B3E-92DF-50B8E6ED6101}" type="datetime4">
              <a:rPr lang="de-DE" smtClean="0"/>
              <a:t>1. März 2023</a:t>
            </a:fld>
            <a:endParaRPr lang="de-DE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88975" y="923925"/>
            <a:ext cx="5461000" cy="30718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90500" y="4284663"/>
            <a:ext cx="6477000" cy="428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808163" y="8685213"/>
            <a:ext cx="41052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300"/>
              </a:lnSpc>
              <a:defRPr sz="1000">
                <a:latin typeface="Stafford" pitchFamily="2" charset="0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3438" y="8685213"/>
            <a:ext cx="942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ts val="1300"/>
              </a:lnSpc>
              <a:defRPr sz="1000">
                <a:latin typeface="Stafford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|  </a:t>
            </a:r>
            <a:fld id="{148C5055-9239-EB4F-8129-FE687917F76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104" name="Rectangle 8"/>
          <p:cNvSpPr>
            <a:spLocks noChangeArrowheads="1"/>
          </p:cNvSpPr>
          <p:nvPr/>
        </p:nvSpPr>
        <p:spPr bwMode="auto">
          <a:xfrm>
            <a:off x="190500" y="387350"/>
            <a:ext cx="5403850" cy="393700"/>
          </a:xfrm>
          <a:prstGeom prst="rect">
            <a:avLst/>
          </a:prstGeom>
          <a:noFill/>
          <a:ln>
            <a:noFill/>
          </a:ln>
        </p:spPr>
        <p:txBody>
          <a:bodyPr lIns="10800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ts val="1300"/>
              </a:lnSpc>
              <a:defRPr/>
            </a:pPr>
            <a:endParaRPr lang="de-DE" altLang="de-DE" sz="1000" b="1">
              <a:latin typeface="Stafford" pitchFamily="2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05" name="Rectangle 9"/>
          <p:cNvSpPr>
            <a:spLocks noChangeArrowheads="1"/>
          </p:cNvSpPr>
          <p:nvPr/>
        </p:nvSpPr>
        <p:spPr bwMode="auto">
          <a:xfrm>
            <a:off x="190500" y="179388"/>
            <a:ext cx="6478588" cy="144462"/>
          </a:xfrm>
          <a:prstGeom prst="rect">
            <a:avLst/>
          </a:prstGeom>
          <a:solidFill>
            <a:srgbClr val="B5B5B5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z="1800">
              <a:ea typeface="+mn-ea"/>
              <a:cs typeface="Arial" panose="020B0604020202020204" pitchFamily="34" charset="0"/>
            </a:endParaRPr>
          </a:p>
        </p:txBody>
      </p:sp>
      <p:sp>
        <p:nvSpPr>
          <p:cNvPr id="20490" name="Line 10"/>
          <p:cNvSpPr>
            <a:spLocks noChangeShapeType="1"/>
          </p:cNvSpPr>
          <p:nvPr/>
        </p:nvSpPr>
        <p:spPr bwMode="auto">
          <a:xfrm>
            <a:off x="190500" y="360363"/>
            <a:ext cx="6478588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1" name="Line 11"/>
          <p:cNvSpPr>
            <a:spLocks noChangeShapeType="1"/>
          </p:cNvSpPr>
          <p:nvPr/>
        </p:nvSpPr>
        <p:spPr bwMode="auto">
          <a:xfrm>
            <a:off x="190500" y="781050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2" name="Line 12"/>
          <p:cNvSpPr>
            <a:spLocks noChangeShapeType="1"/>
          </p:cNvSpPr>
          <p:nvPr/>
        </p:nvSpPr>
        <p:spPr bwMode="auto">
          <a:xfrm>
            <a:off x="190500" y="8685213"/>
            <a:ext cx="6478588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3" name="Line 14"/>
          <p:cNvSpPr>
            <a:spLocks noChangeShapeType="1"/>
          </p:cNvSpPr>
          <p:nvPr/>
        </p:nvSpPr>
        <p:spPr bwMode="auto">
          <a:xfrm>
            <a:off x="188913" y="4103688"/>
            <a:ext cx="6478587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176541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10000"/>
      </a:spcBef>
      <a:spcAft>
        <a:spcPct val="0"/>
      </a:spcAft>
      <a:defRPr sz="1600" kern="1200">
        <a:solidFill>
          <a:schemeClr val="tx1"/>
        </a:solidFill>
        <a:latin typeface="Bitstream Charter" pitchFamily="2" charset="0"/>
        <a:ea typeface="MS PGothic" panose="020B0600070205080204" pitchFamily="34" charset="-128"/>
        <a:cs typeface="MS PGothic" charset="0"/>
      </a:defRPr>
    </a:lvl1pPr>
    <a:lvl2pPr marL="609585" algn="l" rtl="0" eaLnBrk="0" fontAlgn="base" hangingPunct="0">
      <a:spcBef>
        <a:spcPct val="10000"/>
      </a:spcBef>
      <a:spcAft>
        <a:spcPct val="0"/>
      </a:spcAft>
      <a:defRPr sz="1600" kern="1200">
        <a:solidFill>
          <a:schemeClr val="tx1"/>
        </a:solidFill>
        <a:latin typeface="Bitstream Charter" pitchFamily="2" charset="0"/>
        <a:ea typeface="MS PGothic" panose="020B0600070205080204" pitchFamily="34" charset="-128"/>
        <a:cs typeface="MS PGothic" charset="0"/>
      </a:defRPr>
    </a:lvl2pPr>
    <a:lvl3pPr marL="1219170" algn="l" rtl="0" eaLnBrk="0" fontAlgn="base" hangingPunct="0">
      <a:spcBef>
        <a:spcPct val="10000"/>
      </a:spcBef>
      <a:spcAft>
        <a:spcPct val="0"/>
      </a:spcAft>
      <a:defRPr sz="1600" kern="1200">
        <a:solidFill>
          <a:schemeClr val="tx1"/>
        </a:solidFill>
        <a:latin typeface="Bitstream Charter" pitchFamily="2" charset="0"/>
        <a:ea typeface="MS PGothic" panose="020B0600070205080204" pitchFamily="34" charset="-128"/>
        <a:cs typeface="MS PGothic" charset="0"/>
      </a:defRPr>
    </a:lvl3pPr>
    <a:lvl4pPr marL="1828754" algn="l" rtl="0" eaLnBrk="0" fontAlgn="base" hangingPunct="0">
      <a:spcBef>
        <a:spcPct val="10000"/>
      </a:spcBef>
      <a:spcAft>
        <a:spcPct val="0"/>
      </a:spcAft>
      <a:defRPr sz="1600" kern="1200">
        <a:solidFill>
          <a:schemeClr val="tx1"/>
        </a:solidFill>
        <a:latin typeface="Bitstream Charter" pitchFamily="2" charset="0"/>
        <a:ea typeface="MS PGothic" panose="020B0600070205080204" pitchFamily="34" charset="-128"/>
        <a:cs typeface="MS PGothic" charset="0"/>
      </a:defRPr>
    </a:lvl4pPr>
    <a:lvl5pPr marL="2438339" algn="l" rtl="0" eaLnBrk="0" fontAlgn="base" hangingPunct="0">
      <a:spcBef>
        <a:spcPct val="10000"/>
      </a:spcBef>
      <a:spcAft>
        <a:spcPct val="0"/>
      </a:spcAft>
      <a:defRPr sz="1600" kern="1200">
        <a:solidFill>
          <a:schemeClr val="tx1"/>
        </a:solidFill>
        <a:latin typeface="Bitstream Charter" pitchFamily="2" charset="0"/>
        <a:ea typeface="MS PGothic" panose="020B0600070205080204" pitchFamily="34" charset="-128"/>
        <a:cs typeface="MS PGothic" charset="0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2.jp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3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3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Master" Target="../slideMasters/slideMaster7.xml"/><Relationship Id="rId7" Type="http://schemas.openxmlformats.org/officeDocument/2006/relationships/diagramLayout" Target="../diagrams/layout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2.vml"/><Relationship Id="rId6" Type="http://schemas.openxmlformats.org/officeDocument/2006/relationships/diagramData" Target="../diagrams/data1.xml"/><Relationship Id="rId5" Type="http://schemas.openxmlformats.org/officeDocument/2006/relationships/image" Target="../media/image9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2.bin"/><Relationship Id="rId9" Type="http://schemas.openxmlformats.org/officeDocument/2006/relationships/diagramColors" Target="../diagrams/colors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6.v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9.emf"/><Relationship Id="rId4" Type="http://schemas.openxmlformats.org/officeDocument/2006/relationships/tags" Target="../tags/tag64.xml"/><Relationship Id="rId9" Type="http://schemas.openxmlformats.org/officeDocument/2006/relationships/oleObject" Target="../embeddings/oleObject56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Master" Target="../slideMasters/slideMaster7.xml"/><Relationship Id="rId7" Type="http://schemas.openxmlformats.org/officeDocument/2006/relationships/diagramLayout" Target="../diagrams/layout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7.vml"/><Relationship Id="rId6" Type="http://schemas.openxmlformats.org/officeDocument/2006/relationships/diagramData" Target="../diagrams/data2.xml"/><Relationship Id="rId5" Type="http://schemas.openxmlformats.org/officeDocument/2006/relationships/image" Target="../media/image9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7.bin"/><Relationship Id="rId9" Type="http://schemas.openxmlformats.org/officeDocument/2006/relationships/diagramColors" Target="../diagrams/colors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89168F2-90E7-A28E-C784-3D6EF5629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914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89168F2-90E7-A28E-C784-3D6EF5629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E1D57B34-921E-1346-6106-F5B08A734B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5" y="0"/>
            <a:ext cx="12187790" cy="6857999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D3152BEA-25F2-DA45-B0B1-41A812857342}"/>
              </a:ext>
            </a:extLst>
          </p:cNvPr>
          <p:cNvSpPr/>
          <p:nvPr userDrawn="1"/>
        </p:nvSpPr>
        <p:spPr>
          <a:xfrm>
            <a:off x="3176" y="-1"/>
            <a:ext cx="12200098" cy="6858000"/>
          </a:xfrm>
          <a:prstGeom prst="rect">
            <a:avLst/>
          </a:prstGeom>
          <a:gradFill>
            <a:gsLst>
              <a:gs pos="0">
                <a:schemeClr val="accent3">
                  <a:lumMod val="67000"/>
                  <a:alpha val="0"/>
                </a:schemeClr>
              </a:gs>
              <a:gs pos="90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BFACE1E2-960B-484C-93F2-E04B2F4048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5838" y="4292600"/>
            <a:ext cx="7679795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cap="none" spc="40" baseline="0">
                <a:latin typeface="+mn-lt"/>
              </a:defRPr>
            </a:lvl1pPr>
            <a:lvl2pPr algn="ctr">
              <a:lnSpc>
                <a:spcPct val="100000"/>
              </a:lnSpc>
              <a:defRPr sz="1600" cap="none" spc="40" baseline="0">
                <a:latin typeface="+mn-lt"/>
              </a:defRPr>
            </a:lvl2pPr>
            <a:lvl3pPr algn="l">
              <a:lnSpc>
                <a:spcPct val="100000"/>
              </a:lnSpc>
              <a:defRPr sz="1867" cap="none" spc="40" baseline="0">
                <a:latin typeface="+mn-lt"/>
              </a:defRPr>
            </a:lvl3pPr>
            <a:lvl4pPr algn="l">
              <a:lnSpc>
                <a:spcPct val="100000"/>
              </a:lnSpc>
              <a:defRPr sz="1867" cap="none" spc="40" baseline="0">
                <a:latin typeface="+mn-lt"/>
              </a:defRPr>
            </a:lvl4pPr>
            <a:lvl5pPr algn="l">
              <a:lnSpc>
                <a:spcPct val="100000"/>
              </a:lnSpc>
              <a:defRPr sz="1867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0037A9FC-59F7-1246-9345-AC66C9271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1464" y="2278063"/>
            <a:ext cx="9721080" cy="2012421"/>
          </a:xfrm>
          <a:prstGeom prst="rect">
            <a:avLst/>
          </a:prstGeom>
        </p:spPr>
        <p:txBody>
          <a:bodyPr anchor="ctr" anchorCtr="0"/>
          <a:lstStyle>
            <a:lvl1pPr algn="ctr">
              <a:defRPr sz="42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9" name="Date Placeholder 28">
            <a:extLst>
              <a:ext uri="{FF2B5EF4-FFF2-40B4-BE49-F238E27FC236}">
                <a16:creationId xmlns:a16="http://schemas.microsoft.com/office/drawing/2014/main" id="{D7270E54-19B6-9B8B-5A92-521D7D559EE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C06244C-D12F-40F7-9170-BE5088A936D4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AE79D49-797E-4766-2E3F-3E4106321C0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Fachbereich Rechts- und Wirtschaftswissenschaften | ISE | Person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267043F2-8AA3-4DA6-3C02-2961CEFB9C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08BC8D94-353A-49B8-AC67-C9CCFE58A4B8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78FCF860-D0BF-445F-931A-BDAD93FAC3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56" name="Freeform 6">
              <a:extLst>
                <a:ext uri="{FF2B5EF4-FFF2-40B4-BE49-F238E27FC236}">
                  <a16:creationId xmlns:a16="http://schemas.microsoft.com/office/drawing/2014/main" id="{E2FF1DFA-D517-4163-AA59-422850C2C8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57" name="Freeform 7">
              <a:extLst>
                <a:ext uri="{FF2B5EF4-FFF2-40B4-BE49-F238E27FC236}">
                  <a16:creationId xmlns:a16="http://schemas.microsoft.com/office/drawing/2014/main" id="{F24A4B9A-9EF8-41A9-9E87-4824EE2A15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id="{AD350CC4-C95F-4E1E-BB17-EACB805683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59" name="Grafik 58">
              <a:extLst>
                <a:ext uri="{FF2B5EF4-FFF2-40B4-BE49-F238E27FC236}">
                  <a16:creationId xmlns:a16="http://schemas.microsoft.com/office/drawing/2014/main" id="{B97B3405-03DC-4EA5-BD7A-5F9F4CFABD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60" name="Freeform 8">
              <a:extLst>
                <a:ext uri="{FF2B5EF4-FFF2-40B4-BE49-F238E27FC236}">
                  <a16:creationId xmlns:a16="http://schemas.microsoft.com/office/drawing/2014/main" id="{E3418CCB-A9B4-4E60-BC6D-6CD86E5C7D6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EF6A2059-2ED2-4390-84C5-D20FC02F57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62" name="Freeform 10">
              <a:extLst>
                <a:ext uri="{FF2B5EF4-FFF2-40B4-BE49-F238E27FC236}">
                  <a16:creationId xmlns:a16="http://schemas.microsoft.com/office/drawing/2014/main" id="{16F0D98A-6CAD-4F51-83DE-DD423874F6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63" name="Freeform 11">
              <a:extLst>
                <a:ext uri="{FF2B5EF4-FFF2-40B4-BE49-F238E27FC236}">
                  <a16:creationId xmlns:a16="http://schemas.microsoft.com/office/drawing/2014/main" id="{064EE205-EC8F-4F07-AC12-2447F94441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5057FA94-2589-496A-B97B-76F8972834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65" name="Freeform 13">
              <a:extLst>
                <a:ext uri="{FF2B5EF4-FFF2-40B4-BE49-F238E27FC236}">
                  <a16:creationId xmlns:a16="http://schemas.microsoft.com/office/drawing/2014/main" id="{CE27C184-3D68-4CC1-A950-9E1F1D0E8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66" name="Kopfzeile">
            <a:extLst>
              <a:ext uri="{FF2B5EF4-FFF2-40B4-BE49-F238E27FC236}">
                <a16:creationId xmlns:a16="http://schemas.microsoft.com/office/drawing/2014/main" id="{4F03079D-D64E-4280-85CB-E5BF7C5215D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9626918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Kalendar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C5026A8-7BF3-40E3-93CA-59BED22853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097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8CD83E-1C72-28C2-7E9C-572421CF6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BB507-0D96-4AAF-8A8E-3CDD460A6311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93B09E-B5C2-CCF0-CC1A-4E1FCC977F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7322D36-8A93-A098-FCAC-0126212DC61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graphicFrame>
        <p:nvGraphicFramePr>
          <p:cNvPr id="6" name="Group 1715">
            <a:extLst>
              <a:ext uri="{FF2B5EF4-FFF2-40B4-BE49-F238E27FC236}">
                <a16:creationId xmlns:a16="http://schemas.microsoft.com/office/drawing/2014/main" id="{0AE131EB-42BC-6202-9EA7-130CB4FDD6BE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903842210"/>
              </p:ext>
            </p:extLst>
          </p:nvPr>
        </p:nvGraphicFramePr>
        <p:xfrm>
          <a:off x="590307" y="2276872"/>
          <a:ext cx="8640763" cy="3760556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387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55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0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7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98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#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Date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opic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Part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36922" marR="36922" marT="36004" marB="36004" anchor="ctr" horzOverflow="overflow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  <a:defRPr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+mn-cs"/>
                        </a:rPr>
                        <a:t>date</a:t>
                      </a:r>
                    </a:p>
                  </a:txBody>
                  <a:tcPr marL="36922" marR="36922" marT="36004" marB="36004" anchor="ctr" horzOverflow="overflow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36922" marR="36922" marT="36004" marB="36004" anchor="ctr" horzOverflow="overflow">
                    <a:solidFill>
                      <a:schemeClr val="accent2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part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anchorCtr="1" horzOverflow="overflow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0" marB="360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vMerge="1"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marL="36922" marR="36922" marT="36000" marB="360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rowSpan="6">
                  <a:txBody>
                    <a:bodyPr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0" dirty="0">
                          <a:solidFill>
                            <a:schemeClr val="tx1"/>
                          </a:solidFill>
                        </a:rPr>
                        <a:t>part</a:t>
                      </a:r>
                      <a:endParaRPr lang="en-US" sz="1400" kern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6922" marR="36922" marT="36004" marB="36004" anchor="ctr" anchorCtr="1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vMerge="1">
                  <a:txBody>
                    <a:bodyPr/>
                    <a:lstStyle/>
                    <a:p>
                      <a:pPr algn="ctr"/>
                      <a:endParaRPr lang="de-DE" sz="1400" dirty="0"/>
                    </a:p>
                  </a:txBody>
                  <a:tcPr marL="36922" marR="36922" marT="36000" marB="360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  <a:defRPr/>
                      </a:pPr>
                      <a:endParaRPr kumimoji="0" 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0" marB="36000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vMerge="1">
                  <a:txBody>
                    <a:bodyPr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1400" kern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6922" marR="36922" marT="36004" marB="36004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7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vMerge="1">
                  <a:txBody>
                    <a:bodyPr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de-DE" sz="1400" kern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6922" marR="36922" marT="36004" marB="36004" anchor="ctr" anchorCtr="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7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ate</a:t>
                      </a:r>
                    </a:p>
                  </a:txBody>
                  <a:tcPr marL="36922" marR="36922" marT="36004" marB="360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5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>
                          <a:tab pos="792163" algn="l"/>
                          <a:tab pos="1584325" algn="l"/>
                          <a:tab pos="3044825" algn="l"/>
                          <a:tab pos="4216400" algn="l"/>
                          <a:tab pos="5973763" algn="l"/>
                        </a:tabLst>
                      </a:pPr>
                      <a:r>
                        <a:rPr kumimoji="0" lang="en-US" sz="1400" b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title</a:t>
                      </a:r>
                      <a:endParaRPr kumimoji="0" lang="en-US" sz="14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36922" marR="36922" marT="36004" marB="36004" anchor="ctr" horzOverflow="overflow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4026893"/>
                  </a:ext>
                </a:extLst>
              </a:tr>
            </a:tbl>
          </a:graphicData>
        </a:graphic>
      </p:graphicFrame>
      <p:sp>
        <p:nvSpPr>
          <p:cNvPr id="7" name="Überschrift">
            <a:extLst>
              <a:ext uri="{FF2B5EF4-FFF2-40B4-BE49-F238E27FC236}">
                <a16:creationId xmlns:a16="http://schemas.microsoft.com/office/drawing/2014/main" id="{3C3460EC-3042-ED81-C7B1-33356F3352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980" y="1604799"/>
            <a:ext cx="11507517" cy="528058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1A192E5-2A46-60AE-5450-C7642D11C82F}"/>
              </a:ext>
            </a:extLst>
          </p:cNvPr>
          <p:cNvSpPr/>
          <p:nvPr userDrawn="1"/>
        </p:nvSpPr>
        <p:spPr>
          <a:xfrm>
            <a:off x="10019098" y="2833770"/>
            <a:ext cx="1549313" cy="30465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/>
            <a:endParaRPr lang="de-DE" b="1" dirty="0">
              <a:solidFill>
                <a:schemeClr val="tx1"/>
              </a:solidFill>
            </a:endParaRPr>
          </a:p>
          <a:p>
            <a:pPr fontAlgn="t"/>
            <a:r>
              <a:rPr lang="de-DE" sz="1400" b="1" dirty="0">
                <a:solidFill>
                  <a:schemeClr val="tx1"/>
                </a:solidFill>
              </a:rPr>
              <a:t>Date</a:t>
            </a:r>
          </a:p>
          <a:p>
            <a:pPr fontAlgn="t"/>
            <a:r>
              <a:rPr lang="de-DE" sz="1400" b="1" dirty="0">
                <a:solidFill>
                  <a:schemeClr val="tx1"/>
                </a:solidFill>
              </a:rPr>
              <a:t>Time</a:t>
            </a:r>
          </a:p>
          <a:p>
            <a:pPr fontAlgn="t"/>
            <a:r>
              <a:rPr lang="de-DE" sz="1400" b="1" dirty="0">
                <a:solidFill>
                  <a:schemeClr val="tx1"/>
                </a:solidFill>
              </a:rPr>
              <a:t>Room</a:t>
            </a:r>
          </a:p>
          <a:p>
            <a:pPr fontAlgn="t"/>
            <a:endParaRPr lang="de-DE" sz="1400" dirty="0">
              <a:solidFill>
                <a:schemeClr val="tx1"/>
              </a:solidFill>
            </a:endParaRPr>
          </a:p>
          <a:p>
            <a:pPr algn="ctr"/>
            <a:endParaRPr lang="de-DE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0FBF259-4364-4545-8692-A9304F062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4536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apitel-Trenner-ISE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073C2E-559A-8600-BA1D-85094B07DB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8205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073C2E-559A-8600-BA1D-85094B07D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picture containing building, outdoor, street&#10;&#10;Description automatically generated">
            <a:extLst>
              <a:ext uri="{FF2B5EF4-FFF2-40B4-BE49-F238E27FC236}">
                <a16:creationId xmlns:a16="http://schemas.microsoft.com/office/drawing/2014/main" id="{C913B763-AB81-06D5-040C-1DBB3AB014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5" y="0"/>
            <a:ext cx="12187790" cy="6858000"/>
          </a:xfrm>
          <a:prstGeom prst="rect">
            <a:avLst/>
          </a:prstGeom>
        </p:spPr>
      </p:pic>
      <p:sp>
        <p:nvSpPr>
          <p:cNvPr id="7" name="Rechteck 21">
            <a:extLst>
              <a:ext uri="{FF2B5EF4-FFF2-40B4-BE49-F238E27FC236}">
                <a16:creationId xmlns:a16="http://schemas.microsoft.com/office/drawing/2014/main" id="{39393C1D-D7E0-1E45-8F5B-16EC03190228}"/>
              </a:ext>
            </a:extLst>
          </p:cNvPr>
          <p:cNvSpPr/>
          <p:nvPr userDrawn="1"/>
        </p:nvSpPr>
        <p:spPr>
          <a:xfrm>
            <a:off x="3176" y="-604"/>
            <a:ext cx="12192000" cy="6858604"/>
          </a:xfrm>
          <a:prstGeom prst="rect">
            <a:avLst/>
          </a:prstGeom>
          <a:gradFill>
            <a:gsLst>
              <a:gs pos="22000">
                <a:schemeClr val="accent3">
                  <a:lumMod val="67000"/>
                  <a:alpha val="0"/>
                </a:schemeClr>
              </a:gs>
              <a:gs pos="50000">
                <a:schemeClr val="accent3">
                  <a:lumMod val="97000"/>
                  <a:lumOff val="3000"/>
                  <a:alpha val="6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CE22A32B-3F26-9049-974C-F0B8BC975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799" y="4293096"/>
            <a:ext cx="9599633" cy="144000"/>
          </a:xfrm>
          <a:prstGeom prst="rect">
            <a:avLst/>
          </a:prstGeom>
        </p:spPr>
        <p:txBody>
          <a:bodyPr vert="horz" anchor="b" anchorCtr="0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 hasCustomPrompt="1"/>
          </p:nvPr>
        </p:nvSpPr>
        <p:spPr>
          <a:xfrm>
            <a:off x="340981" y="4725111"/>
            <a:ext cx="9594652" cy="11521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marL="0" marR="0" lvl="0" indent="0" algn="l" defTabSz="914400" rtl="0" eaLnBrk="0" fontAlgn="base" latinLnBrk="0" hangingPunct="0">
              <a:lnSpc>
                <a:spcPct val="80000"/>
              </a:lnSpc>
              <a:spcBef>
                <a:spcPts val="267"/>
              </a:spcBef>
              <a:spcAft>
                <a:spcPts val="30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dirty="0"/>
              <a:t>Formatvorlagen des Textmasters bearbeiten</a:t>
            </a:r>
          </a:p>
          <a:p>
            <a:pPr lvl="0"/>
            <a:endParaRPr lang="de-DE" dirty="0"/>
          </a:p>
        </p:txBody>
      </p:sp>
      <p:sp>
        <p:nvSpPr>
          <p:cNvPr id="42" name="Date Placeholder 41">
            <a:extLst>
              <a:ext uri="{FF2B5EF4-FFF2-40B4-BE49-F238E27FC236}">
                <a16:creationId xmlns:a16="http://schemas.microsoft.com/office/drawing/2014/main" id="{82FAF25F-2813-E631-06B5-654A9144546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9153561-BA6C-4BEA-AE0D-F0659118D978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18A0C882-67B3-4DBA-E03E-C7BF596A725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DDBA7E56-15FA-A107-3B47-02CF4B88B5E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496C12C-F5C3-48AC-8C28-D681AABC1755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2E766B82-B62B-49F2-8275-2A1CE73890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6AF95054-7ED0-453C-9DD0-E06EB895048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97309B37-2897-4E21-B239-869ED4C7B1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FB4C5450-AE89-407F-9175-BE1FDF4A95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3EDDACD2-417E-4446-9EF8-8337DAE3A9E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0AF6F228-321B-4E8E-8381-DCEDB1D27E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52BDE9AE-8116-4DEA-9B97-0AD6DD9E5F3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6674BEFF-098A-44C4-AA61-1B85F1FE3BE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3BF93BBB-9E32-48EE-96E8-68CC29193D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6FC0F1A1-0F1B-4054-B841-4283362ACE5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5B5D6E5D-393B-4798-971F-09A2574C43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</p:spTree>
    <p:extLst>
      <p:ext uri="{BB962C8B-B14F-4D97-AF65-F5344CB8AC3E}">
        <p14:creationId xmlns:p14="http://schemas.microsoft.com/office/powerpoint/2010/main" val="22068173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-Trenner-ISE_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073C2E-559A-8600-BA1D-85094B07DB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851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073C2E-559A-8600-BA1D-85094B07D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C913B763-AB81-06D5-040C-1DBB3AB014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5" y="1184"/>
            <a:ext cx="12187790" cy="6855631"/>
          </a:xfrm>
          <a:prstGeom prst="rect">
            <a:avLst/>
          </a:prstGeom>
        </p:spPr>
      </p:pic>
      <p:sp>
        <p:nvSpPr>
          <p:cNvPr id="3" name="Rechteck 21">
            <a:extLst>
              <a:ext uri="{FF2B5EF4-FFF2-40B4-BE49-F238E27FC236}">
                <a16:creationId xmlns:a16="http://schemas.microsoft.com/office/drawing/2014/main" id="{C826CB99-FADA-32AC-5700-6EF5A8C87D3D}"/>
              </a:ext>
            </a:extLst>
          </p:cNvPr>
          <p:cNvSpPr/>
          <p:nvPr userDrawn="1"/>
        </p:nvSpPr>
        <p:spPr>
          <a:xfrm>
            <a:off x="3176" y="-604"/>
            <a:ext cx="12192000" cy="6858604"/>
          </a:xfrm>
          <a:prstGeom prst="rect">
            <a:avLst/>
          </a:prstGeom>
          <a:gradFill>
            <a:gsLst>
              <a:gs pos="22000">
                <a:schemeClr val="accent3">
                  <a:lumMod val="67000"/>
                  <a:alpha val="0"/>
                </a:schemeClr>
              </a:gs>
              <a:gs pos="50000">
                <a:schemeClr val="accent3">
                  <a:lumMod val="97000"/>
                  <a:lumOff val="3000"/>
                  <a:alpha val="6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CE22A32B-3F26-9049-974C-F0B8BC975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799" y="4293096"/>
            <a:ext cx="9599633" cy="144000"/>
          </a:xfrm>
          <a:prstGeom prst="rect">
            <a:avLst/>
          </a:prstGeom>
        </p:spPr>
        <p:txBody>
          <a:bodyPr vert="horz" anchor="b" anchorCtr="0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 hasCustomPrompt="1"/>
          </p:nvPr>
        </p:nvSpPr>
        <p:spPr>
          <a:xfrm>
            <a:off x="340981" y="4725111"/>
            <a:ext cx="9594652" cy="11521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marL="0" marR="0" lvl="0" indent="0" algn="l" defTabSz="914400" rtl="0" eaLnBrk="0" fontAlgn="base" latinLnBrk="0" hangingPunct="0">
              <a:lnSpc>
                <a:spcPct val="80000"/>
              </a:lnSpc>
              <a:spcBef>
                <a:spcPts val="267"/>
              </a:spcBef>
              <a:spcAft>
                <a:spcPts val="30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dirty="0"/>
              <a:t>Formatvorlagen des Textmasters bearbeiten</a:t>
            </a:r>
          </a:p>
          <a:p>
            <a:pPr lvl="0"/>
            <a:endParaRPr lang="de-DE" dirty="0"/>
          </a:p>
        </p:txBody>
      </p:sp>
      <p:sp>
        <p:nvSpPr>
          <p:cNvPr id="42" name="Date Placeholder 41">
            <a:extLst>
              <a:ext uri="{FF2B5EF4-FFF2-40B4-BE49-F238E27FC236}">
                <a16:creationId xmlns:a16="http://schemas.microsoft.com/office/drawing/2014/main" id="{82FAF25F-2813-E631-06B5-654A9144546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6690990-CDE8-477E-A0D2-A2B87836BDCF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18A0C882-67B3-4DBA-E03E-C7BF596A725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DDBA7E56-15FA-A107-3B47-02CF4B88B5E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7B5ECF00-9B1F-4AB2-AF55-8E6F9E67B5B9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FCDA807C-6F2E-4A60-B031-0E1B0F6629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29779F10-36AB-4D8E-8E30-B4623AB867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68EC4715-CC57-4201-B945-93BED28AD0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5419CF75-EE13-403B-B0DA-A1CF6B103A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8EC17091-2474-4B3B-8371-71C087C5C1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45FBF56E-2C05-4D12-AE24-3524F91D4E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4616D354-2DCE-4093-A72D-1851B41BC8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E51243C-DA6D-400E-9744-570499B56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A5826470-3ADA-4462-B283-8807346EA8C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035FBCF3-F747-4FFB-BAE3-E6C5430316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00C0E03A-2C14-4707-AAAF-726A6A1FD6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</p:spTree>
    <p:extLst>
      <p:ext uri="{BB962C8B-B14F-4D97-AF65-F5344CB8AC3E}">
        <p14:creationId xmlns:p14="http://schemas.microsoft.com/office/powerpoint/2010/main" val="14488533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-Trenner-ISE_V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073C2E-559A-8600-BA1D-85094B07DB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702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073C2E-559A-8600-BA1D-85094B07D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21">
            <a:extLst>
              <a:ext uri="{FF2B5EF4-FFF2-40B4-BE49-F238E27FC236}">
                <a16:creationId xmlns:a16="http://schemas.microsoft.com/office/drawing/2014/main" id="{39393C1D-D7E0-1E45-8F5B-16EC03190228}"/>
              </a:ext>
            </a:extLst>
          </p:cNvPr>
          <p:cNvSpPr/>
          <p:nvPr userDrawn="1"/>
        </p:nvSpPr>
        <p:spPr>
          <a:xfrm>
            <a:off x="4147" y="1588"/>
            <a:ext cx="12187853" cy="6867404"/>
          </a:xfrm>
          <a:prstGeom prst="rect">
            <a:avLst/>
          </a:prstGeom>
          <a:gradFill>
            <a:gsLst>
              <a:gs pos="22000">
                <a:schemeClr val="accent3">
                  <a:lumMod val="67000"/>
                  <a:alpha val="0"/>
                </a:schemeClr>
              </a:gs>
              <a:gs pos="50000">
                <a:schemeClr val="accent3">
                  <a:lumMod val="97000"/>
                  <a:lumOff val="3000"/>
                  <a:alpha val="6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CE22A32B-3F26-9049-974C-F0B8BC975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799" y="4293096"/>
            <a:ext cx="9599633" cy="144000"/>
          </a:xfrm>
          <a:prstGeom prst="rect">
            <a:avLst/>
          </a:prstGeom>
        </p:spPr>
        <p:txBody>
          <a:bodyPr vert="horz" anchor="b" anchorCtr="0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 hasCustomPrompt="1"/>
          </p:nvPr>
        </p:nvSpPr>
        <p:spPr>
          <a:xfrm>
            <a:off x="340981" y="4725111"/>
            <a:ext cx="9594652" cy="11521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marL="0" marR="0" lvl="0" indent="0" algn="l" defTabSz="914400" rtl="0" eaLnBrk="0" fontAlgn="base" latinLnBrk="0" hangingPunct="0">
              <a:lnSpc>
                <a:spcPct val="80000"/>
              </a:lnSpc>
              <a:spcBef>
                <a:spcPts val="267"/>
              </a:spcBef>
              <a:spcAft>
                <a:spcPts val="30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dirty="0"/>
              <a:t>Formatvorlagen des Textmasters bearbeiten</a:t>
            </a:r>
          </a:p>
          <a:p>
            <a:pPr lvl="0"/>
            <a:endParaRPr lang="de-DE" dirty="0"/>
          </a:p>
        </p:txBody>
      </p:sp>
      <p:sp>
        <p:nvSpPr>
          <p:cNvPr id="27" name="Date Placeholder 26">
            <a:extLst>
              <a:ext uri="{FF2B5EF4-FFF2-40B4-BE49-F238E27FC236}">
                <a16:creationId xmlns:a16="http://schemas.microsoft.com/office/drawing/2014/main" id="{9048C8BD-E4A8-318A-F0C7-92A96EF456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0CD2851-3BBD-40DC-933B-305AAADB4EBD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E796D6D3-65A4-71AE-554C-A58F8BBF0F1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1BB69B82-E823-83AA-D137-781A80F7053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29835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el-Trenner-ISE_V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073C2E-559A-8600-BA1D-85094B07DB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707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073C2E-559A-8600-BA1D-85094B07DB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21">
            <a:extLst>
              <a:ext uri="{FF2B5EF4-FFF2-40B4-BE49-F238E27FC236}">
                <a16:creationId xmlns:a16="http://schemas.microsoft.com/office/drawing/2014/main" id="{39393C1D-D7E0-1E45-8F5B-16EC03190228}"/>
              </a:ext>
            </a:extLst>
          </p:cNvPr>
          <p:cNvSpPr/>
          <p:nvPr userDrawn="1"/>
        </p:nvSpPr>
        <p:spPr>
          <a:xfrm>
            <a:off x="0" y="3176"/>
            <a:ext cx="12192000" cy="6858604"/>
          </a:xfrm>
          <a:prstGeom prst="rect">
            <a:avLst/>
          </a:prstGeom>
          <a:gradFill>
            <a:gsLst>
              <a:gs pos="22000">
                <a:schemeClr val="accent3">
                  <a:lumMod val="67000"/>
                  <a:alpha val="0"/>
                </a:schemeClr>
              </a:gs>
              <a:gs pos="50000">
                <a:schemeClr val="accent3">
                  <a:lumMod val="97000"/>
                  <a:lumOff val="3000"/>
                  <a:alpha val="6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CE22A32B-3F26-9049-974C-F0B8BC975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799" y="4293096"/>
            <a:ext cx="9599633" cy="144000"/>
          </a:xfrm>
          <a:prstGeom prst="rect">
            <a:avLst/>
          </a:prstGeom>
        </p:spPr>
        <p:txBody>
          <a:bodyPr vert="horz" anchor="b" anchorCtr="0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 hasCustomPrompt="1"/>
          </p:nvPr>
        </p:nvSpPr>
        <p:spPr>
          <a:xfrm>
            <a:off x="340981" y="4725111"/>
            <a:ext cx="9594652" cy="11521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marL="0" marR="0" lvl="0" indent="0" algn="l" defTabSz="914400" rtl="0" eaLnBrk="0" fontAlgn="base" latinLnBrk="0" hangingPunct="0">
              <a:lnSpc>
                <a:spcPct val="80000"/>
              </a:lnSpc>
              <a:spcBef>
                <a:spcPts val="267"/>
              </a:spcBef>
              <a:spcAft>
                <a:spcPts val="30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lang="de-DE" dirty="0"/>
              <a:t>Formatvorlagen des Textmasters bearbeiten</a:t>
            </a:r>
          </a:p>
          <a:p>
            <a:pPr lvl="0"/>
            <a:endParaRPr lang="de-DE" dirty="0"/>
          </a:p>
        </p:txBody>
      </p:sp>
      <p:sp>
        <p:nvSpPr>
          <p:cNvPr id="42" name="Date Placeholder 41">
            <a:extLst>
              <a:ext uri="{FF2B5EF4-FFF2-40B4-BE49-F238E27FC236}">
                <a16:creationId xmlns:a16="http://schemas.microsoft.com/office/drawing/2014/main" id="{82FAF25F-2813-E631-06B5-654A9144546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72C6124-69A4-4FD9-968D-A0F84182FB25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3" name="Footer Placeholder 42">
            <a:extLst>
              <a:ext uri="{FF2B5EF4-FFF2-40B4-BE49-F238E27FC236}">
                <a16:creationId xmlns:a16="http://schemas.microsoft.com/office/drawing/2014/main" id="{18A0C882-67B3-4DBA-E03E-C7BF596A725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DDBA7E56-15FA-A107-3B47-02CF4B88B5E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44266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-Trenner-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9A8BA8E-9215-4318-85A2-81D21600C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905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">
            <a:extLst>
              <a:ext uri="{FF2B5EF4-FFF2-40B4-BE49-F238E27FC236}">
                <a16:creationId xmlns:a16="http://schemas.microsoft.com/office/drawing/2014/main" id="{CE22A32B-3F26-9049-974C-F0B8BC975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799" y="4293096"/>
            <a:ext cx="9599633" cy="144000"/>
          </a:xfrm>
          <a:prstGeom prst="rect">
            <a:avLst/>
          </a:prstGeom>
        </p:spPr>
        <p:txBody>
          <a:bodyPr vert="horz" anchor="b" anchorCtr="0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1" y="4725111"/>
            <a:ext cx="9594652" cy="11521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E642DE1-3F7C-1E3A-0690-A136B5EB45B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3E03199E-EB1E-44E5-9768-35000470FF16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D8220194-CB4B-5D4F-DAE7-BD501C26F61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CF34C9A-291C-934C-2E77-3D868244E5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67502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ildplatzhalt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4117" cy="685800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 dirty="0"/>
              <a:t>Bild Vollfläch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D122DB-064B-15EC-F65E-E9BF3EDE32A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C6F7E18-9A6B-4C7A-8CFA-96A70183C1CA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56D651-2446-E514-6852-8BEF9215DC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C1227CA-3A94-9125-1F96-36BB7E0C6A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5B6E904-BC6E-4F2E-9C20-729FB1491BBE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</p:spTree>
    <p:extLst>
      <p:ext uri="{BB962C8B-B14F-4D97-AF65-F5344CB8AC3E}">
        <p14:creationId xmlns:p14="http://schemas.microsoft.com/office/powerpoint/2010/main" val="42092278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und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C22ADA-07D5-7683-F9D9-78038F7C61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3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C22ADA-07D5-7683-F9D9-78038F7C6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Bildplatzhalter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604962"/>
            <a:ext cx="12194117" cy="4705351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 dirty="0"/>
              <a:t>Bild Vollfläch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7B2BDFB-1A86-0F5E-6736-43DBCE18754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4DCDC48-C9FB-4A7E-A792-04697564C9D7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75BE449-C594-E220-26F9-609F3A696F6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54FC5C2-6F53-35D2-DC15-DD33366C99A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5BE96F8-9A1C-47BD-A080-AD684711F886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D5C6393-6925-4C9F-8324-4A9D755D4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4332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2721C5E-AC0D-1F5E-236E-57890CE74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741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2721C5E-AC0D-1F5E-236E-57890CE74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3801685"/>
            <a:ext cx="5466987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247650" indent="-247650">
              <a:lnSpc>
                <a:spcPct val="100000"/>
              </a:lnSpc>
              <a:tabLst/>
              <a:defRPr sz="1600" cap="none" spc="40" baseline="0">
                <a:latin typeface="+mn-lt"/>
              </a:defRPr>
            </a:lvl4pPr>
            <a:lvl5pPr marL="534988" indent="-277813">
              <a:lnSpc>
                <a:spcPct val="100000"/>
              </a:lnSpc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 hasCustomPrompt="1"/>
          </p:nvPr>
        </p:nvSpPr>
        <p:spPr>
          <a:xfrm>
            <a:off x="334435" y="1604963"/>
            <a:ext cx="5466987" cy="96808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096000" y="1604963"/>
            <a:ext cx="6096000" cy="470535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22550616-4B07-70BD-6178-52C26430763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D3AC34B-DDB4-4A6C-BA15-ADEEF0640DD0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2B366E0-637C-B2AB-371A-C5BE2B0748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6490267C-6404-3729-B532-E452E12DAA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70DFA33-C2FA-4DDB-9136-012D3E14983E}"/>
              </a:ext>
            </a:extLst>
          </p:cNvPr>
          <p:cNvSpPr/>
          <p:nvPr userDrawn="1"/>
        </p:nvSpPr>
        <p:spPr>
          <a:xfrm>
            <a:off x="335360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1A10E0-C347-4597-BBE1-5AF274A8A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2571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und Bild (Monitor Hintergund)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A7DAD2-1A50-77E9-6A40-809045336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347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A7DAD2-1A50-77E9-6A40-809045336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3801685"/>
            <a:ext cx="5466987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247650" indent="-247650">
              <a:lnSpc>
                <a:spcPct val="100000"/>
              </a:lnSpc>
              <a:tabLst/>
              <a:defRPr sz="1600" cap="none" spc="40" baseline="0">
                <a:latin typeface="+mn-lt"/>
              </a:defRPr>
            </a:lvl4pPr>
            <a:lvl5pPr marL="534988" indent="-277813">
              <a:lnSpc>
                <a:spcPct val="100000"/>
              </a:lnSpc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A1245ED-6833-0748-9DAD-DF2E2787DA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840000"/>
            <a:ext cx="9390634" cy="6252597"/>
          </a:xfrm>
          <a:prstGeom prst="rect">
            <a:avLst/>
          </a:prstGeom>
        </p:spPr>
      </p:pic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624DB34E-A066-934E-B16A-AA4C922227E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9566" y="1714176"/>
            <a:ext cx="5535233" cy="312452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endParaRPr lang="de-DE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4CBB7407-1F33-7E9E-4EF5-7070599A439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B5D0C6F-AA6F-4065-9010-515966DE1955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C27E8380-D45D-D303-7E79-E06E08D174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08C0FC3-92F6-AD3F-44A4-23BB6CF1684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347BF23-5591-420B-A4BF-31F6F01C0DE3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0E80CBB-C56F-4805-8F35-A953C64CB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4" name="Überschrift">
            <a:extLst>
              <a:ext uri="{FF2B5EF4-FFF2-40B4-BE49-F238E27FC236}">
                <a16:creationId xmlns:a16="http://schemas.microsoft.com/office/drawing/2014/main" id="{ECC9B471-D8AB-4ADF-B2A9-3F10363F871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5" y="1604963"/>
            <a:ext cx="5466987" cy="96808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55009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7271ED-2DBE-FC85-7961-2989EA290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032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7271ED-2DBE-FC85-7961-2989EA290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2926232"/>
            <a:ext cx="7679286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247650" indent="-2476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534988" indent="-277813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1" y="1604798"/>
            <a:ext cx="11525582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AA8CD81-6325-9234-124F-1DC2AF772DB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B7DD24D-E866-4D6A-A7E2-E45853D25DCF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0BA7E8E-4003-859D-B0A5-ACAE91AF0A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D695D4A-A1D4-EDA1-2811-036779A749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Kopfzeile">
            <a:extLst>
              <a:ext uri="{FF2B5EF4-FFF2-40B4-BE49-F238E27FC236}">
                <a16:creationId xmlns:a16="http://schemas.microsoft.com/office/drawing/2014/main" id="{D50A04CF-0740-4375-A4DD-610AD3AA5BC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228359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1329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6306921" y="3801685"/>
            <a:ext cx="5541575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247650" indent="-247650">
              <a:lnSpc>
                <a:spcPct val="100000"/>
              </a:lnSpc>
              <a:tabLst/>
              <a:defRPr sz="1600" cap="none" spc="40" baseline="0">
                <a:latin typeface="+mn-lt"/>
              </a:defRPr>
            </a:lvl4pPr>
            <a:lvl5pPr marL="534988" indent="-277813">
              <a:lnSpc>
                <a:spcPct val="100000"/>
              </a:lnSpc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 hasCustomPrompt="1"/>
          </p:nvPr>
        </p:nvSpPr>
        <p:spPr>
          <a:xfrm>
            <a:off x="6283018" y="1604963"/>
            <a:ext cx="5545138" cy="96808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334436" y="1604963"/>
            <a:ext cx="5562000" cy="468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479A580A-9470-426B-A3BC-570938DE7C64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7194F79-2B27-478B-A961-28FDEE95CEA2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38389E4-D8EC-4813-B106-156543167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505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2534BFA-521D-7B1D-C4DC-86A061C554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6948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2534BFA-521D-7B1D-C4DC-86A061C55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334962" y="1604963"/>
            <a:ext cx="5689030" cy="470535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1FCC726F-E193-F94F-8201-525E01F62C0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008" y="1604964"/>
            <a:ext cx="5689030" cy="201523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B85BD1D8-7EB2-9E4D-B9CB-36ACC967C5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68008" y="3861048"/>
            <a:ext cx="5689030" cy="2055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0139181-62DF-7742-0349-A63A78FF551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B18787-EF8C-4471-9956-25505A60F29F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3EEDE15-7EAF-5A21-94CA-6E97D4C5A66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1A7E4BA4-8760-F688-B8C7-55929EF2C0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3654776-9E02-4082-A50D-A0A2D362B850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F4C8954-8143-40E7-B308-1BCCB28D4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789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itel und Inhalt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79B065C-7916-0823-E4A8-D1C8E6E801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931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79B065C-7916-0823-E4A8-D1C8E6E801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2255838" y="5637213"/>
            <a:ext cx="7679795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defRPr sz="1600" cap="none" spc="40" baseline="0">
                <a:latin typeface="+mn-lt"/>
              </a:defRPr>
            </a:lvl1pPr>
            <a:lvl2pPr algn="l">
              <a:lnSpc>
                <a:spcPct val="100000"/>
              </a:lnSpc>
              <a:defRPr sz="1600" cap="none" spc="40" baseline="0">
                <a:latin typeface="+mn-lt"/>
              </a:defRPr>
            </a:lvl2pPr>
            <a:lvl3pPr algn="l">
              <a:lnSpc>
                <a:spcPct val="100000"/>
              </a:lnSpc>
              <a:defRPr sz="1867" cap="none" spc="40" baseline="0">
                <a:latin typeface="+mn-lt"/>
              </a:defRPr>
            </a:lvl3pPr>
            <a:lvl4pPr algn="l">
              <a:lnSpc>
                <a:spcPct val="100000"/>
              </a:lnSpc>
              <a:defRPr sz="1867" cap="none" spc="40" baseline="0">
                <a:latin typeface="+mn-lt"/>
              </a:defRPr>
            </a:lvl4pPr>
            <a:lvl5pPr algn="l">
              <a:lnSpc>
                <a:spcPct val="100000"/>
              </a:lnSpc>
              <a:defRPr sz="1867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 hasCustomPrompt="1"/>
          </p:nvPr>
        </p:nvSpPr>
        <p:spPr>
          <a:xfrm>
            <a:off x="2255837" y="5134075"/>
            <a:ext cx="7679795" cy="9515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600"/>
            </a:lvl1pPr>
          </a:lstStyle>
          <a:p>
            <a:pPr lvl="0"/>
            <a:r>
              <a:rPr lang="de-DE" dirty="0"/>
              <a:t>Formatvorlagen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2255838" y="1604963"/>
            <a:ext cx="7680326" cy="336073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EFF5FC9C-0E76-C42F-F9C5-D50AA7845A9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9487B73-9F38-4A29-BD89-4D64BA86B7E7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1868F9C-7501-C6B6-CE83-9FE68605B68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6A51C7C-C490-C79E-4484-2FC4E9E668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91CC7C6-4979-47BF-89AF-643B85E89EF1}"/>
              </a:ext>
            </a:extLst>
          </p:cNvPr>
          <p:cNvSpPr/>
          <p:nvPr userDrawn="1"/>
        </p:nvSpPr>
        <p:spPr>
          <a:xfrm>
            <a:off x="10416480" y="5909210"/>
            <a:ext cx="14215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9E9BD0B-CDE0-4F4D-9737-2187C168D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2393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9E437D2-1F3E-9D77-686D-A4A82CEDD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28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9E437D2-1F3E-9D77-686D-A4A82CEDD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Überschrift">
            <a:extLst>
              <a:ext uri="{FF2B5EF4-FFF2-40B4-BE49-F238E27FC236}">
                <a16:creationId xmlns:a16="http://schemas.microsoft.com/office/drawing/2014/main" id="{D1730AEA-8C9A-2D4C-9C6B-67785998118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16057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353968" y="2636912"/>
            <a:ext cx="11484064" cy="336073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5E7FED0C-E72C-DED9-9BAE-4DABE1B3A44A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51FA8DE-CDAD-4BF6-8612-583BA0736D37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5CA3A3F0-5135-86F5-ECF0-A1971568284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3DDE3732-E751-D33E-69BC-F2FAF8D4DF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FE60E90-DF59-4DA8-ABAC-CE5260AC8683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2CD6C48-A178-417F-BD63-D30611A83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0735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rechts (groß)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6428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40981" y="4010695"/>
            <a:ext cx="4602891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3"/>
            <a:r>
              <a:rPr lang="de-DE" dirty="0"/>
              <a:t>Fünfte Ebe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5752496" y="1517432"/>
            <a:ext cx="6096000" cy="470535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20832A6-9730-4E6F-9B13-7A06D12BFBC0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1" y="1604798"/>
            <a:ext cx="4458876" cy="11521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510FFC2-E817-4A00-A007-B274A9400397}"/>
              </a:ext>
            </a:extLst>
          </p:cNvPr>
          <p:cNvSpPr/>
          <p:nvPr userDrawn="1"/>
        </p:nvSpPr>
        <p:spPr>
          <a:xfrm>
            <a:off x="35396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algn="l"/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4EDB739-10F3-4FDD-BB0F-D3DE85E48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1934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links und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202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6754034" y="3030157"/>
            <a:ext cx="4602891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3"/>
            <a:r>
              <a:rPr lang="de-DE" dirty="0"/>
              <a:t>Fünfte Ebe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345812" y="3030157"/>
            <a:ext cx="3952296" cy="31538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B3152AB-8A71-4076-83AB-C3A9A2F6F891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16058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56E2450-B5D5-40F1-A70E-BCB328A69C67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468E437-B9EE-4344-8630-922A9A355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0863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rechts und Inhal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11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40980" y="3087477"/>
            <a:ext cx="4602891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3"/>
            <a:r>
              <a:rPr lang="de-DE" dirty="0"/>
              <a:t>Fünfte Ebe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754034" y="3047669"/>
            <a:ext cx="3952296" cy="31538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9655449-0588-4B29-9050-C94973D8B9BD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16058" cy="67232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09CA795-917E-435F-87AD-91CE60B26A98}"/>
              </a:ext>
            </a:extLst>
          </p:cNvPr>
          <p:cNvSpPr/>
          <p:nvPr userDrawn="1"/>
        </p:nvSpPr>
        <p:spPr>
          <a:xfrm>
            <a:off x="335360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466A096-7DB3-4B36-B8A8-EBB3BC118A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334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2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279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345812" y="3030157"/>
            <a:ext cx="3952296" cy="31538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E4D2A714-C7C7-47A8-A058-E29CB0591ABD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16058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46F9BC78-A8BC-ECF6-7381-909F44A167B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68864" y="3030157"/>
            <a:ext cx="3952296" cy="31538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96DD18F-D3CE-4D8A-B533-5E5F44D32C5D}"/>
              </a:ext>
            </a:extLst>
          </p:cNvPr>
          <p:cNvSpPr/>
          <p:nvPr userDrawn="1"/>
        </p:nvSpPr>
        <p:spPr>
          <a:xfrm>
            <a:off x="10488488" y="5909210"/>
            <a:ext cx="13495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8ABA8EB-4F7F-4269-A52D-6CF588FA9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1359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 und Trennung und Ebe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050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"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D458379B-E45E-4CF9-98CB-03B80F902601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9"/>
            <a:ext cx="11516058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CC5168C6-11D6-B6B2-E1D1-0911A5A382C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0980" y="2628929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C3F067E-5EC9-D0A1-F4FA-98B639A0CE37}"/>
              </a:ext>
            </a:extLst>
          </p:cNvPr>
          <p:cNvSpPr txBox="1"/>
          <p:nvPr userDrawn="1"/>
        </p:nvSpPr>
        <p:spPr>
          <a:xfrm>
            <a:off x="2711624" y="2938703"/>
            <a:ext cx="5838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/>
              <a:t>title</a:t>
            </a:r>
          </a:p>
        </p:txBody>
      </p:sp>
      <p:sp>
        <p:nvSpPr>
          <p:cNvPr id="9" name="Mengentext">
            <a:extLst>
              <a:ext uri="{FF2B5EF4-FFF2-40B4-BE49-F238E27FC236}">
                <a16:creationId xmlns:a16="http://schemas.microsoft.com/office/drawing/2014/main" id="{804850BA-4CCC-A89F-2192-52C598ED87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3652" y="4425338"/>
            <a:ext cx="2457311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5E82DDAF-7BB1-A75E-3DAC-CB116B6A6594}"/>
              </a:ext>
            </a:extLst>
          </p:cNvPr>
          <p:cNvCxnSpPr>
            <a:cxnSpLocks/>
          </p:cNvCxnSpPr>
          <p:nvPr userDrawn="1"/>
        </p:nvCxnSpPr>
        <p:spPr>
          <a:xfrm>
            <a:off x="332440" y="4005064"/>
            <a:ext cx="1151605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uppierung 42">
            <a:extLst>
              <a:ext uri="{FF2B5EF4-FFF2-40B4-BE49-F238E27FC236}">
                <a16:creationId xmlns:a16="http://schemas.microsoft.com/office/drawing/2014/main" id="{8A6CA84F-2C7F-DC69-0213-D4252E5BAEEF}"/>
              </a:ext>
            </a:extLst>
          </p:cNvPr>
          <p:cNvGrpSpPr/>
          <p:nvPr userDrawn="1"/>
        </p:nvGrpSpPr>
        <p:grpSpPr>
          <a:xfrm>
            <a:off x="1154411" y="5454803"/>
            <a:ext cx="1323577" cy="567110"/>
            <a:chOff x="474292" y="5166147"/>
            <a:chExt cx="1323577" cy="56711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289A103-74B1-EF7A-F572-A352E13E575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74292" y="5166147"/>
              <a:ext cx="1323577" cy="56711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E2E27D0D-B8B9-9CB2-A24F-C1DFD36B0D62}"/>
                </a:ext>
              </a:extLst>
            </p:cNvPr>
            <p:cNvSpPr/>
            <p:nvPr/>
          </p:nvSpPr>
          <p:spPr>
            <a:xfrm>
              <a:off x="474293" y="5301208"/>
              <a:ext cx="13057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i="1" dirty="0"/>
                <a:t>text</a:t>
              </a:r>
              <a:endParaRPr lang="en-US" sz="1200" dirty="0"/>
            </a:p>
          </p:txBody>
        </p:sp>
      </p:grpSp>
      <p:grpSp>
        <p:nvGrpSpPr>
          <p:cNvPr id="14" name="Gruppierung 41">
            <a:extLst>
              <a:ext uri="{FF2B5EF4-FFF2-40B4-BE49-F238E27FC236}">
                <a16:creationId xmlns:a16="http://schemas.microsoft.com/office/drawing/2014/main" id="{CDF4C931-EB42-BE83-89BB-AA6A6C5FC015}"/>
              </a:ext>
            </a:extLst>
          </p:cNvPr>
          <p:cNvGrpSpPr/>
          <p:nvPr userDrawn="1"/>
        </p:nvGrpSpPr>
        <p:grpSpPr>
          <a:xfrm>
            <a:off x="3097380" y="5444808"/>
            <a:ext cx="1323577" cy="567110"/>
            <a:chOff x="2099560" y="5166147"/>
            <a:chExt cx="1323577" cy="56711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9431FCEC-AC70-3FF1-21DC-FCAF9F982969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2099560" y="5166147"/>
              <a:ext cx="1323577" cy="56711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2C56810-F557-0071-35DA-1AC1CAD5DDEF}"/>
                </a:ext>
              </a:extLst>
            </p:cNvPr>
            <p:cNvSpPr/>
            <p:nvPr/>
          </p:nvSpPr>
          <p:spPr>
            <a:xfrm>
              <a:off x="2099561" y="5301208"/>
              <a:ext cx="13057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i="1" dirty="0"/>
                <a:t>text</a:t>
              </a:r>
              <a:endParaRPr lang="en-US" sz="1200" dirty="0"/>
            </a:p>
          </p:txBody>
        </p:sp>
      </p:grpSp>
      <p:grpSp>
        <p:nvGrpSpPr>
          <p:cNvPr id="20" name="Gruppierung 38">
            <a:extLst>
              <a:ext uri="{FF2B5EF4-FFF2-40B4-BE49-F238E27FC236}">
                <a16:creationId xmlns:a16="http://schemas.microsoft.com/office/drawing/2014/main" id="{3CCFD15B-7B6A-EF79-8169-15CD9C41998F}"/>
              </a:ext>
            </a:extLst>
          </p:cNvPr>
          <p:cNvGrpSpPr/>
          <p:nvPr userDrawn="1"/>
        </p:nvGrpSpPr>
        <p:grpSpPr>
          <a:xfrm>
            <a:off x="5040349" y="5434813"/>
            <a:ext cx="1323577" cy="567110"/>
            <a:chOff x="3779912" y="5166147"/>
            <a:chExt cx="1323577" cy="56711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208B8DB6-A756-FCEE-9F7D-BEC2054848EB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3779912" y="5166147"/>
              <a:ext cx="1323577" cy="56711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7D7FCF0D-E4B9-433F-4234-466C83A9D395}"/>
                </a:ext>
              </a:extLst>
            </p:cNvPr>
            <p:cNvSpPr/>
            <p:nvPr/>
          </p:nvSpPr>
          <p:spPr>
            <a:xfrm>
              <a:off x="3779913" y="5301208"/>
              <a:ext cx="13057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i="1" dirty="0"/>
                <a:t>text</a:t>
              </a:r>
              <a:endParaRPr lang="en-US" sz="1200" dirty="0"/>
            </a:p>
          </p:txBody>
        </p:sp>
      </p:grpSp>
      <p:grpSp>
        <p:nvGrpSpPr>
          <p:cNvPr id="23" name="Gruppierung 37">
            <a:extLst>
              <a:ext uri="{FF2B5EF4-FFF2-40B4-BE49-F238E27FC236}">
                <a16:creationId xmlns:a16="http://schemas.microsoft.com/office/drawing/2014/main" id="{3C424414-E2BC-535D-C9B9-44533E3F7C51}"/>
              </a:ext>
            </a:extLst>
          </p:cNvPr>
          <p:cNvGrpSpPr/>
          <p:nvPr userDrawn="1"/>
        </p:nvGrpSpPr>
        <p:grpSpPr>
          <a:xfrm>
            <a:off x="6983318" y="5444808"/>
            <a:ext cx="1323577" cy="567110"/>
            <a:chOff x="5436096" y="5166147"/>
            <a:chExt cx="1323577" cy="56711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96F5E65C-0A97-F072-EB3C-0250FEC6118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5436096" y="5166147"/>
              <a:ext cx="1323577" cy="56711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D63181F-6C28-5C77-92F4-5A43287E5BC9}"/>
                </a:ext>
              </a:extLst>
            </p:cNvPr>
            <p:cNvSpPr/>
            <p:nvPr/>
          </p:nvSpPr>
          <p:spPr>
            <a:xfrm>
              <a:off x="5436097" y="5301208"/>
              <a:ext cx="13057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i="1" dirty="0"/>
                <a:t>text</a:t>
              </a:r>
              <a:endParaRPr lang="en-US" sz="1200" dirty="0"/>
            </a:p>
          </p:txBody>
        </p:sp>
      </p:grpSp>
      <p:grpSp>
        <p:nvGrpSpPr>
          <p:cNvPr id="26" name="Gruppierung 30">
            <a:extLst>
              <a:ext uri="{FF2B5EF4-FFF2-40B4-BE49-F238E27FC236}">
                <a16:creationId xmlns:a16="http://schemas.microsoft.com/office/drawing/2014/main" id="{F523D629-FC94-764F-2EF3-7DD5EAD46E8C}"/>
              </a:ext>
            </a:extLst>
          </p:cNvPr>
          <p:cNvGrpSpPr/>
          <p:nvPr userDrawn="1"/>
        </p:nvGrpSpPr>
        <p:grpSpPr>
          <a:xfrm>
            <a:off x="8926993" y="5424818"/>
            <a:ext cx="1323577" cy="567110"/>
            <a:chOff x="7092280" y="5175450"/>
            <a:chExt cx="1323577" cy="567110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99E5745A-3B81-F914-4BA9-8C5B7EE74CD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7092280" y="5175450"/>
              <a:ext cx="1323577" cy="56711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ED0C8BF8-4CC2-AF79-4193-AC2B7E17E883}"/>
                </a:ext>
              </a:extLst>
            </p:cNvPr>
            <p:cNvSpPr/>
            <p:nvPr/>
          </p:nvSpPr>
          <p:spPr>
            <a:xfrm>
              <a:off x="7101200" y="5320505"/>
              <a:ext cx="130573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00" i="1" dirty="0"/>
                <a:t>text</a:t>
              </a:r>
              <a:endParaRPr lang="en-US" sz="1200" dirty="0"/>
            </a:p>
          </p:txBody>
        </p:sp>
      </p:grpSp>
      <p:sp>
        <p:nvSpPr>
          <p:cNvPr id="29" name="Rechteck 28">
            <a:extLst>
              <a:ext uri="{FF2B5EF4-FFF2-40B4-BE49-F238E27FC236}">
                <a16:creationId xmlns:a16="http://schemas.microsoft.com/office/drawing/2014/main" id="{B693AFB9-569E-45D7-B9C0-DBD58135E440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586D090-C110-4477-AE4A-C52C1DA4FF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2497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8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533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3E54B258-A223-4832-94B6-DD314B643395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9"/>
            <a:ext cx="11516058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8DBA275C-E901-3419-77D2-D5B5ED451C4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89337" y="2753640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0FD37768-C5F4-0299-08A4-ED64D0B1C6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47728" y="2758879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9" name="Bildplatzhalter 5">
            <a:extLst>
              <a:ext uri="{FF2B5EF4-FFF2-40B4-BE49-F238E27FC236}">
                <a16:creationId xmlns:a16="http://schemas.microsoft.com/office/drawing/2014/main" id="{D56557CC-5198-B581-657A-4B735C8F11C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06119" y="2754379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469538D5-AF39-44D8-13B6-CFC02000D0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64510" y="2761799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78871B87-CA21-496F-FBA9-F5C7EEA6559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89337" y="4359330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955AFF3B-5B99-D3EC-477E-97DF93994AF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47728" y="4364569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8" name="Bildplatzhalter 5">
            <a:extLst>
              <a:ext uri="{FF2B5EF4-FFF2-40B4-BE49-F238E27FC236}">
                <a16:creationId xmlns:a16="http://schemas.microsoft.com/office/drawing/2014/main" id="{F022985E-A51F-E0A4-A933-CC32168ACA9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06119" y="4360069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9" name="Bildplatzhalter 5">
            <a:extLst>
              <a:ext uri="{FF2B5EF4-FFF2-40B4-BE49-F238E27FC236}">
                <a16:creationId xmlns:a16="http://schemas.microsoft.com/office/drawing/2014/main" id="{9F832481-FAE0-0A53-A7E3-5C1EDF2E1AD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64510" y="4367489"/>
            <a:ext cx="1802508" cy="101965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8F3901F-20D7-44C5-BAD9-5F3C6A121A57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1403710-2022-43EA-B156-C39186560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243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CDBE37-97EC-7CC7-DE70-FB225B3CCB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04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BCDBE37-97EC-7CC7-DE70-FB225B3CC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2EFE214-D270-6B4C-92C0-CC06527E31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2018" y="2020493"/>
            <a:ext cx="2687637" cy="2687637"/>
          </a:xfrm>
          <a:prstGeom prst="ellipse">
            <a:avLst/>
          </a:prstGeom>
        </p:spPr>
        <p:txBody>
          <a:bodyPr anchor="ctr" anchorCtr="0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BF83B9-2515-454D-A89F-2608B1EDE5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713" y="3135551"/>
            <a:ext cx="5759450" cy="28733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cap="none" spc="30" baseline="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1F841205-6AE5-5D48-90B6-2AF9DE19B3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76713" y="3521631"/>
            <a:ext cx="5759450" cy="28733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cap="none" spc="30" baseline="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7" name="Textplatzhalter 11">
            <a:extLst>
              <a:ext uri="{FF2B5EF4-FFF2-40B4-BE49-F238E27FC236}">
                <a16:creationId xmlns:a16="http://schemas.microsoft.com/office/drawing/2014/main" id="{F62238B2-8177-9D46-ACCD-E279BB0EB5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76713" y="3907711"/>
            <a:ext cx="5759450" cy="28733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cap="none" spc="30" baseline="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8" name="Textplatzhalter 11">
            <a:extLst>
              <a:ext uri="{FF2B5EF4-FFF2-40B4-BE49-F238E27FC236}">
                <a16:creationId xmlns:a16="http://schemas.microsoft.com/office/drawing/2014/main" id="{9A2974F0-5D4E-6244-B854-C9036906AD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6713" y="4293791"/>
            <a:ext cx="5759450" cy="28733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 cap="none" spc="30" baseline="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C5238371-880F-3F4E-A94E-5EB32911D6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76713" y="2278063"/>
            <a:ext cx="5759450" cy="68102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5400"/>
            </a:lvl1pPr>
          </a:lstStyle>
          <a:p>
            <a:pPr lvl="0"/>
            <a:r>
              <a:rPr lang="de-DE" dirty="0"/>
              <a:t>Mastertext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92E00F00-6C92-BD92-BF64-05039926190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4F1C6A14-737D-44A2-880E-6F8CBA8588B7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36B15ABA-17B7-EB72-EACF-AC7096B3B49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ECBBC88-11AB-A4D5-ACFC-5FE529B5C4C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Kopfzeile">
            <a:extLst>
              <a:ext uri="{FF2B5EF4-FFF2-40B4-BE49-F238E27FC236}">
                <a16:creationId xmlns:a16="http://schemas.microsoft.com/office/drawing/2014/main" id="{DFB84DA9-7074-49A1-AC02-95BB132B90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0596168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4054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E7B7861-9243-4E29-BBE8-B8476183461C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07517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0FD37768-C5F4-0299-08A4-ED64D0B1C6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774366" y="2329623"/>
            <a:ext cx="2450580" cy="142965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955AFF3B-5B99-D3EC-477E-97DF93994AF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774366" y="4365104"/>
            <a:ext cx="2450580" cy="142965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B509E26-8537-0D96-4D88-69155F21DC9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104112" y="2329623"/>
            <a:ext cx="2450580" cy="142965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C3FB4EBF-15BF-20BF-57CD-250982C036C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04112" y="4365104"/>
            <a:ext cx="2450580" cy="142965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033E709-34D2-4DA3-8878-0EBE06FAD853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BA47CB2-554D-4FDA-85D6-854A132E6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9655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4 Bilder und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13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B0B73D0-D273-49CD-BEB7-AE21F2696964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0980" y="1604799"/>
            <a:ext cx="11516058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0FD37768-C5F4-0299-08A4-ED64D0B1C6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5400" y="2348880"/>
            <a:ext cx="2450580" cy="142965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955AFF3B-5B99-D3EC-477E-97DF93994AF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95400" y="4384361"/>
            <a:ext cx="2450580" cy="142965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B509E26-8537-0D96-4D88-69155F21DC9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91870" y="2348880"/>
            <a:ext cx="2450580" cy="142965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7" name="Bildplatzhalter 5">
            <a:extLst>
              <a:ext uri="{FF2B5EF4-FFF2-40B4-BE49-F238E27FC236}">
                <a16:creationId xmlns:a16="http://schemas.microsoft.com/office/drawing/2014/main" id="{C3FB4EBF-15BF-20BF-57CD-250982C036C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591870" y="4384361"/>
            <a:ext cx="2450580" cy="142965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4" name="Mengentext">
            <a:extLst>
              <a:ext uri="{FF2B5EF4-FFF2-40B4-BE49-F238E27FC236}">
                <a16:creationId xmlns:a16="http://schemas.microsoft.com/office/drawing/2014/main" id="{B507AF33-DA4E-7BF8-CE1B-7CBA7B6DD3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75720" y="2348880"/>
            <a:ext cx="2152276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9" name="Mengentext">
            <a:extLst>
              <a:ext uri="{FF2B5EF4-FFF2-40B4-BE49-F238E27FC236}">
                <a16:creationId xmlns:a16="http://schemas.microsoft.com/office/drawing/2014/main" id="{DBE6B8D1-A2DB-FB7B-39EB-572CD3ADBF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50435" y="2348880"/>
            <a:ext cx="2152276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Dritte Ebene</a:t>
            </a:r>
          </a:p>
          <a:p>
            <a:pPr lvl="1"/>
            <a:r>
              <a:rPr lang="de-DE" dirty="0"/>
              <a:t>Vierte Ebene</a:t>
            </a:r>
          </a:p>
        </p:txBody>
      </p:sp>
      <p:sp>
        <p:nvSpPr>
          <p:cNvPr id="11" name="Mengentext">
            <a:extLst>
              <a:ext uri="{FF2B5EF4-FFF2-40B4-BE49-F238E27FC236}">
                <a16:creationId xmlns:a16="http://schemas.microsoft.com/office/drawing/2014/main" id="{3BCF86C4-52F6-D22A-796F-C24552A8B9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75720" y="4403028"/>
            <a:ext cx="2152276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Fünfte Ebene</a:t>
            </a:r>
          </a:p>
          <a:p>
            <a:pPr lvl="1"/>
            <a:r>
              <a:rPr lang="de-DE" dirty="0"/>
              <a:t>Sechste Ebene</a:t>
            </a:r>
          </a:p>
        </p:txBody>
      </p:sp>
      <p:sp>
        <p:nvSpPr>
          <p:cNvPr id="12" name="Mengentext">
            <a:extLst>
              <a:ext uri="{FF2B5EF4-FFF2-40B4-BE49-F238E27FC236}">
                <a16:creationId xmlns:a16="http://schemas.microsoft.com/office/drawing/2014/main" id="{423C49C1-9523-681B-0C42-6B2C954D2A8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50435" y="4403028"/>
            <a:ext cx="2152276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Siebte Ebene</a:t>
            </a:r>
          </a:p>
          <a:p>
            <a:pPr lvl="1"/>
            <a:r>
              <a:rPr lang="de-DE" dirty="0"/>
              <a:t>Achte Ebene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CB58B5A6-750E-4562-B70A-F2309A158536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63E4324F-3A5D-42D5-B8B9-0A61B7DDE8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9869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4994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8832304" y="3007597"/>
            <a:ext cx="2376264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3"/>
            <a:r>
              <a:rPr lang="de-DE" dirty="0"/>
              <a:t>Fünfte Ebe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3507784" y="2200127"/>
            <a:ext cx="3952296" cy="31538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27D5D74-3941-43C2-AD06-5D73FD1DD2F7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914857" cy="4344482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5C82161-E7E7-43B3-9080-891119FE6442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4773AAD-EA94-4801-82A1-D98F4E453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2158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3 Bilder und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443B3F-07D7-72D9-D4B0-9C090D607E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14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443B3F-07D7-72D9-D4B0-9C090D607E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4483760"/>
            <a:ext cx="36000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1" y="1604799"/>
            <a:ext cx="11507516" cy="670898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8" name="Mengentext"/>
          <p:cNvSpPr>
            <a:spLocks noGrp="1"/>
          </p:cNvSpPr>
          <p:nvPr>
            <p:ph type="body" sz="quarter" idx="12" hasCustomPrompt="1"/>
          </p:nvPr>
        </p:nvSpPr>
        <p:spPr>
          <a:xfrm>
            <a:off x="4292250" y="4483760"/>
            <a:ext cx="36000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Mengentext"/>
          <p:cNvSpPr>
            <a:spLocks noGrp="1"/>
          </p:cNvSpPr>
          <p:nvPr>
            <p:ph type="body" sz="quarter" idx="13" hasCustomPrompt="1"/>
          </p:nvPr>
        </p:nvSpPr>
        <p:spPr>
          <a:xfrm>
            <a:off x="8248497" y="4483760"/>
            <a:ext cx="36000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7B7CB5C-DD1A-DB73-B655-89EC433692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77BC794-749D-4F23-B784-941FAFF5E3D7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1037E9FA-9B6A-EDA9-AE2B-36E5FF38A5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D1DCC4FB-4758-DDE4-FEC6-76935400AD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Bildplatzhalter 5">
            <a:extLst>
              <a:ext uri="{FF2B5EF4-FFF2-40B4-BE49-F238E27FC236}">
                <a16:creationId xmlns:a16="http://schemas.microsoft.com/office/drawing/2014/main" id="{A5D32C91-0F1F-922A-9DC4-7C030FFEEB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83433" y="2710231"/>
            <a:ext cx="2300184" cy="130472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4" name="Bildplatzhalter 5">
            <a:extLst>
              <a:ext uri="{FF2B5EF4-FFF2-40B4-BE49-F238E27FC236}">
                <a16:creationId xmlns:a16="http://schemas.microsoft.com/office/drawing/2014/main" id="{55F5F909-45BE-7E22-4929-4BD41D82DC0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42158" y="2776638"/>
            <a:ext cx="2300184" cy="130472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77077E2A-40B1-34E7-3081-38D0E7626DA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98405" y="2776638"/>
            <a:ext cx="2300184" cy="130472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8DD9729-66C9-4B52-B5E9-D75907DD0ABD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B208E311-FEB9-4515-A6AA-5019105AE5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0684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7271ED-2DBE-FC85-7961-2989EA290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985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7271ED-2DBE-FC85-7961-2989EA290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2926232"/>
            <a:ext cx="7679286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247650" indent="-2476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sz="1600" cap="none" spc="40" baseline="0">
                <a:latin typeface="+mn-lt"/>
              </a:defRPr>
            </a:lvl4pPr>
            <a:lvl5pPr marL="534988" indent="-277813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1" y="1604798"/>
            <a:ext cx="11507516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AA8CD81-6325-9234-124F-1DC2AF772DB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4F38A59-B26E-47A3-B5E8-E8F8FB219BE0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0BA7E8E-4003-859D-B0A5-ACAE91AF0A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D695D4A-A1D4-EDA1-2811-036779A749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2F5030-2979-4B11-B0AD-3EDA3FD5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9733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invertier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FAFC65-AD85-4E83-8CBD-E29EB4F44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35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4FAFC65-AD85-4E83-8CBD-E29EB4F443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2926232"/>
            <a:ext cx="7679286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solidFill>
                  <a:schemeClr val="bg1"/>
                </a:solidFill>
                <a:latin typeface="+mn-lt"/>
              </a:defRPr>
            </a:lvl3pPr>
            <a:lvl4pPr marL="247650" indent="-2476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bg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534988" indent="-277813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bg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16057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0A2FB372-4D26-3F56-3585-679633DEFB9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CE61E6-8A88-4E2B-B8C7-D4CD13471885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B4C684B-8DC0-E003-7E96-9A2FD646B2D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ED0853BA-F382-3AA5-8D0C-DFFFEEC156E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EA5D669-D0D1-4C08-B81A-8A8CF605F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3499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E4443E-4F63-9C69-9E40-064DCF726F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31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E4443E-4F63-9C69-9E40-064DCF726F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engentext-Rechts"/>
          <p:cNvSpPr>
            <a:spLocks noGrp="1"/>
          </p:cNvSpPr>
          <p:nvPr>
            <p:ph type="body" sz="quarter" idx="12" hasCustomPrompt="1"/>
          </p:nvPr>
        </p:nvSpPr>
        <p:spPr>
          <a:xfrm>
            <a:off x="6304523" y="2926232"/>
            <a:ext cx="5543974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247650" indent="-2476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534988" indent="-277813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Mengentext-Links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2926232"/>
            <a:ext cx="5543974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247650" indent="-2476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534988" indent="-277813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1" y="1604798"/>
            <a:ext cx="11507516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D237E69A-D2AB-5C62-E2BC-A52A1A811E37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C323593-39BA-4E3D-8451-27F97A6BAF24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DCB5ADEC-F3A0-F727-2DCA-9F9E93AC77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236EB6C-60D3-B0BE-A6E4-0D8BFB81E55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81DE9CD-FFE3-48E4-AAFA-9E8B4B1F2A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5376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443B3F-07D7-72D9-D4B0-9C090D607E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776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443B3F-07D7-72D9-D4B0-9C090D607E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2926232"/>
            <a:ext cx="36000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16057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8" name="Mengentext"/>
          <p:cNvSpPr>
            <a:spLocks noGrp="1"/>
          </p:cNvSpPr>
          <p:nvPr>
            <p:ph type="body" sz="quarter" idx="12" hasCustomPrompt="1"/>
          </p:nvPr>
        </p:nvSpPr>
        <p:spPr>
          <a:xfrm>
            <a:off x="4292250" y="2926232"/>
            <a:ext cx="36000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Mengentext"/>
          <p:cNvSpPr>
            <a:spLocks noGrp="1"/>
          </p:cNvSpPr>
          <p:nvPr>
            <p:ph type="body" sz="quarter" idx="13" hasCustomPrompt="1"/>
          </p:nvPr>
        </p:nvSpPr>
        <p:spPr>
          <a:xfrm>
            <a:off x="8248497" y="2926232"/>
            <a:ext cx="36000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7B7CB5C-DD1A-DB73-B655-89EC433692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1913491-B78B-4CBC-A063-453B1E834BFB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1037E9FA-9B6A-EDA9-AE2B-36E5FF38A5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D1DCC4FB-4758-DDE4-FEC6-76935400AD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0FA4F96-1DE5-4E6B-BCE4-6AEA66F61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0689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el mit 2 Inh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0D4251-6FB7-986C-D8E4-CD500717C8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787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0D4251-6FB7-986C-D8E4-CD500717C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engentext-Rechts"/>
          <p:cNvSpPr>
            <a:spLocks noGrp="1"/>
          </p:cNvSpPr>
          <p:nvPr>
            <p:ph type="body" sz="quarter" idx="12" hasCustomPrompt="1"/>
          </p:nvPr>
        </p:nvSpPr>
        <p:spPr>
          <a:xfrm>
            <a:off x="6304523" y="2926232"/>
            <a:ext cx="5543974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Mengentext-Links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2926232"/>
            <a:ext cx="5543974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-links"/>
          <p:cNvSpPr>
            <a:spLocks noGrp="1"/>
          </p:cNvSpPr>
          <p:nvPr>
            <p:ph type="body" sz="quarter" idx="11" hasCustomPrompt="1"/>
          </p:nvPr>
        </p:nvSpPr>
        <p:spPr>
          <a:xfrm>
            <a:off x="340981" y="1604798"/>
            <a:ext cx="5538996" cy="968086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3" name="Überschrift-rechts"/>
          <p:cNvSpPr>
            <a:spLocks noGrp="1"/>
          </p:cNvSpPr>
          <p:nvPr>
            <p:ph type="body" sz="quarter" idx="13" hasCustomPrompt="1"/>
          </p:nvPr>
        </p:nvSpPr>
        <p:spPr>
          <a:xfrm>
            <a:off x="6293867" y="1604798"/>
            <a:ext cx="5538996" cy="968086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13E6C9C-81E7-9783-6603-AB53640394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719730B-1F18-435B-BF88-A5EF901AA27C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CBC2448D-EF12-FFE1-9036-B54357D0EF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9CD42BA2-D3AE-F760-0D9A-16D1715E3F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44BCDD7-6FF6-4B47-9412-0CA717DE5D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7143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el mit 2 Inhalten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223317-DDAB-24DA-4626-58A4682EE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250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223317-DDAB-24DA-4626-58A4682EE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engentext-Rechts"/>
          <p:cNvSpPr>
            <a:spLocks noGrp="1"/>
          </p:cNvSpPr>
          <p:nvPr>
            <p:ph type="body" sz="quarter" idx="12" hasCustomPrompt="1"/>
          </p:nvPr>
        </p:nvSpPr>
        <p:spPr>
          <a:xfrm>
            <a:off x="5447928" y="2926232"/>
            <a:ext cx="4488235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Mengentext-Links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2" y="2926232"/>
            <a:ext cx="4607870" cy="156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-links"/>
          <p:cNvSpPr>
            <a:spLocks noGrp="1"/>
          </p:cNvSpPr>
          <p:nvPr>
            <p:ph type="body" sz="quarter" idx="11"/>
          </p:nvPr>
        </p:nvSpPr>
        <p:spPr>
          <a:xfrm>
            <a:off x="340981" y="1604798"/>
            <a:ext cx="4602891" cy="11521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3" name="Überschrift-rechts"/>
          <p:cNvSpPr>
            <a:spLocks noGrp="1"/>
          </p:cNvSpPr>
          <p:nvPr>
            <p:ph type="body" sz="quarter" idx="13"/>
          </p:nvPr>
        </p:nvSpPr>
        <p:spPr>
          <a:xfrm>
            <a:off x="5447928" y="1604798"/>
            <a:ext cx="4474319" cy="11521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4" name="Bildplatzhalter"/>
          <p:cNvSpPr>
            <a:spLocks noGrp="1"/>
          </p:cNvSpPr>
          <p:nvPr>
            <p:ph type="pic" sz="quarter" idx="14" hasCustomPrompt="1"/>
          </p:nvPr>
        </p:nvSpPr>
        <p:spPr>
          <a:xfrm>
            <a:off x="10128447" y="1604963"/>
            <a:ext cx="1728591" cy="67310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r>
              <a:rPr lang="de-DE" dirty="0"/>
              <a:t>Hier </a:t>
            </a:r>
            <a:r>
              <a:rPr lang="de-DE" dirty="0" err="1"/>
              <a:t>Sublogo</a:t>
            </a:r>
            <a:r>
              <a:rPr lang="de-DE" dirty="0"/>
              <a:t> platzieren</a:t>
            </a:r>
          </a:p>
        </p:txBody>
      </p:sp>
      <p:sp>
        <p:nvSpPr>
          <p:cNvPr id="17" name="Date Placeholder 16">
            <a:extLst>
              <a:ext uri="{FF2B5EF4-FFF2-40B4-BE49-F238E27FC236}">
                <a16:creationId xmlns:a16="http://schemas.microsoft.com/office/drawing/2014/main" id="{9C2180D4-81BE-71C8-3500-CAC2E752F46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3C23DB0-B970-48CF-A8AF-266C20C523F9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F4142D9E-B0C2-4440-B0B8-18FFF62828E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7D50E7C5-AB46-CC21-FBC3-410FEDF7E4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0128DE7-BBA4-4841-AC9D-313BAAF5E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829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-Titel-Vollbild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AC4EA38C-6C3F-7A7A-9D84-7BCBBDF36A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629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AC4EA38C-6C3F-7A7A-9D84-7BCBBDF36A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Bildplatzhalter 8">
            <a:extLst>
              <a:ext uri="{FF2B5EF4-FFF2-40B4-BE49-F238E27FC236}">
                <a16:creationId xmlns:a16="http://schemas.microsoft.com/office/drawing/2014/main" id="{16D54C2C-C1BA-5A49-B1F6-3EFEF007B2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" b="9"/>
          <a:stretch/>
        </p:blipFill>
        <p:spPr>
          <a:xfrm>
            <a:off x="0" y="0"/>
            <a:ext cx="12194117" cy="6858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D3152BEA-25F2-DA45-B0B1-41A812857342}"/>
              </a:ext>
            </a:extLst>
          </p:cNvPr>
          <p:cNvSpPr/>
          <p:nvPr userDrawn="1"/>
        </p:nvSpPr>
        <p:spPr>
          <a:xfrm>
            <a:off x="-12427" y="-5678"/>
            <a:ext cx="12192000" cy="6858000"/>
          </a:xfrm>
          <a:prstGeom prst="rect">
            <a:avLst/>
          </a:prstGeom>
          <a:gradFill>
            <a:gsLst>
              <a:gs pos="0">
                <a:schemeClr val="accent3">
                  <a:lumMod val="67000"/>
                  <a:alpha val="0"/>
                </a:schemeClr>
              </a:gs>
              <a:gs pos="90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BFACE1E2-960B-484C-93F2-E04B2F4048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5838" y="4292600"/>
            <a:ext cx="7679795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cap="none" spc="40" baseline="0">
                <a:latin typeface="+mn-lt"/>
              </a:defRPr>
            </a:lvl1pPr>
            <a:lvl2pPr algn="ctr">
              <a:lnSpc>
                <a:spcPct val="100000"/>
              </a:lnSpc>
              <a:defRPr sz="1600" cap="none" spc="40" baseline="0">
                <a:latin typeface="+mn-lt"/>
              </a:defRPr>
            </a:lvl2pPr>
            <a:lvl3pPr algn="l">
              <a:lnSpc>
                <a:spcPct val="100000"/>
              </a:lnSpc>
              <a:defRPr sz="1867" cap="none" spc="40" baseline="0">
                <a:latin typeface="+mn-lt"/>
              </a:defRPr>
            </a:lvl3pPr>
            <a:lvl4pPr algn="l">
              <a:lnSpc>
                <a:spcPct val="100000"/>
              </a:lnSpc>
              <a:defRPr sz="1867" cap="none" spc="40" baseline="0">
                <a:latin typeface="+mn-lt"/>
              </a:defRPr>
            </a:lvl4pPr>
            <a:lvl5pPr algn="l">
              <a:lnSpc>
                <a:spcPct val="100000"/>
              </a:lnSpc>
              <a:defRPr sz="1867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0037A9FC-59F7-1246-9345-AC66C9271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1464" y="2278063"/>
            <a:ext cx="9721080" cy="2012421"/>
          </a:xfrm>
          <a:prstGeom prst="rect">
            <a:avLst/>
          </a:prstGeom>
        </p:spPr>
        <p:txBody>
          <a:bodyPr anchor="ctr" anchorCtr="0"/>
          <a:lstStyle>
            <a:lvl1pPr algn="ctr">
              <a:defRPr sz="42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8" name="Date Placeholder 27">
            <a:extLst>
              <a:ext uri="{FF2B5EF4-FFF2-40B4-BE49-F238E27FC236}">
                <a16:creationId xmlns:a16="http://schemas.microsoft.com/office/drawing/2014/main" id="{316475AE-8109-14D2-97C2-F97B7265A29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859CDEE-DFEB-4132-9B3F-0835D0FD1F3C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1AFF2EED-18F3-15EF-6798-E54F5F8EA37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A252A8A7-4E1C-A5A9-2BEE-73041EC2C3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C0EDF7B2-EEEF-438B-9732-042BE4342511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843FC68C-F557-4880-89FF-E9E7ABF858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83C561D2-4D58-493D-8694-CB57E0A7000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42FDBD99-66BF-457F-83EF-3609057B8C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5F384E88-3B3F-43B6-9328-61FBDD38EEE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50C2CBF6-4B65-46B7-B7BE-D1D8ECD0E6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01266713-41BA-44AE-897B-A3D584FE4FD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48E4AB58-157D-4565-A338-C4E8944958C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EAEAC2A8-012F-4D5D-AA1E-4F1D6019A4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7E17FFCB-5089-4E41-8674-B367FC3FF1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id="{116B3062-189C-4720-9452-087B7BAF63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6BDCDA91-AA6F-4E54-9A4A-40EB901A8F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3" name="Titel 2">
            <a:extLst>
              <a:ext uri="{FF2B5EF4-FFF2-40B4-BE49-F238E27FC236}">
                <a16:creationId xmlns:a16="http://schemas.microsoft.com/office/drawing/2014/main" id="{C6F8302D-BC08-4894-BF94-E54DB4B09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56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7271ED-2DBE-FC85-7961-2989EA290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20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7271ED-2DBE-FC85-7961-2989EA290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3" y="2926232"/>
            <a:ext cx="7679286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1pPr>
            <a:lvl2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2pPr>
            <a:lvl3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2"/>
            <a:r>
              <a:rPr lang="de-DE" dirty="0"/>
              <a:t>Vierte Ebene</a:t>
            </a:r>
          </a:p>
          <a:p>
            <a:pPr lvl="2"/>
            <a:r>
              <a:rPr lang="de-DE" dirty="0"/>
              <a:t>Fünfte Ebene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07517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AA8CD81-6325-9234-124F-1DC2AF772DB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2415276-6A21-4ABF-AA6D-826B07E3CDB9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0BA7E8E-4003-859D-B0A5-ACAE91AF0A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D695D4A-A1D4-EDA1-2811-036779A749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634E6BD-C5A9-4D84-87CB-E39AEC28D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4398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Zwischen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0D4251-6FB7-986C-D8E4-CD500717C8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331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0D4251-6FB7-986C-D8E4-CD500717C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engentext-Rechts"/>
          <p:cNvSpPr>
            <a:spLocks noGrp="1"/>
          </p:cNvSpPr>
          <p:nvPr>
            <p:ph type="body" sz="quarter" idx="12" hasCustomPrompt="1"/>
          </p:nvPr>
        </p:nvSpPr>
        <p:spPr>
          <a:xfrm>
            <a:off x="6304522" y="4030354"/>
            <a:ext cx="5543974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Mengentext-Links"/>
          <p:cNvSpPr>
            <a:spLocks noGrp="1"/>
          </p:cNvSpPr>
          <p:nvPr>
            <p:ph type="body" sz="quarter" idx="10" hasCustomPrompt="1"/>
          </p:nvPr>
        </p:nvSpPr>
        <p:spPr>
          <a:xfrm>
            <a:off x="336002" y="4030354"/>
            <a:ext cx="5543974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Überschrift-links"/>
          <p:cNvSpPr>
            <a:spLocks noGrp="1"/>
          </p:cNvSpPr>
          <p:nvPr>
            <p:ph type="body" sz="quarter" idx="11" hasCustomPrompt="1"/>
          </p:nvPr>
        </p:nvSpPr>
        <p:spPr>
          <a:xfrm>
            <a:off x="330240" y="2838679"/>
            <a:ext cx="5538996" cy="498470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 sz="20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3" name="Überschrift-rechts"/>
          <p:cNvSpPr>
            <a:spLocks noGrp="1"/>
          </p:cNvSpPr>
          <p:nvPr>
            <p:ph type="body" sz="quarter" idx="13" hasCustomPrompt="1"/>
          </p:nvPr>
        </p:nvSpPr>
        <p:spPr>
          <a:xfrm>
            <a:off x="6283126" y="2838679"/>
            <a:ext cx="5538996" cy="498470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 sz="20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13E6C9C-81E7-9783-6603-AB536403947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EC3DC96-4BF7-4E8B-A381-27D391A01CF1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CBC2448D-EF12-FFE1-9036-B54357D0EF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9CD42BA2-D3AE-F760-0D9A-16D1715E3F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366CA069-8982-3A09-7689-74C7DB7DE3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0980" y="1604799"/>
            <a:ext cx="11507516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4C1ECA5-6140-46D1-8B9C-EE4692546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4024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Eleme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7271ED-2DBE-FC85-7961-2989EA290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3079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7271ED-2DBE-FC85-7961-2989EA290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0" y="1604799"/>
            <a:ext cx="11507517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AA8CD81-6325-9234-124F-1DC2AF772DB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B8466E6-1D8E-4CC9-96A5-1C4C0D7B0B03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0BA7E8E-4003-859D-B0A5-ACAE91AF0A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D695D4A-A1D4-EDA1-2811-036779A749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473D1FC-EC38-D461-9092-BD07288C5B45}"/>
              </a:ext>
            </a:extLst>
          </p:cNvPr>
          <p:cNvSpPr txBox="1"/>
          <p:nvPr userDrawn="1"/>
        </p:nvSpPr>
        <p:spPr>
          <a:xfrm>
            <a:off x="365819" y="3677634"/>
            <a:ext cx="2186608" cy="58477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1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514458C-0D71-0313-F4D0-0891C938BF2B}"/>
              </a:ext>
            </a:extLst>
          </p:cNvPr>
          <p:cNvSpPr txBox="1"/>
          <p:nvPr userDrawn="1"/>
        </p:nvSpPr>
        <p:spPr>
          <a:xfrm>
            <a:off x="4655840" y="3677633"/>
            <a:ext cx="2186608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2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A051EAA-969D-7D29-ED0E-1A4E1A8E0E03}"/>
              </a:ext>
            </a:extLst>
          </p:cNvPr>
          <p:cNvSpPr txBox="1"/>
          <p:nvPr userDrawn="1"/>
        </p:nvSpPr>
        <p:spPr>
          <a:xfrm>
            <a:off x="8945861" y="3677633"/>
            <a:ext cx="2186608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3</a:t>
            </a:r>
          </a:p>
        </p:txBody>
      </p:sp>
      <p:sp>
        <p:nvSpPr>
          <p:cNvPr id="8" name="Gleichschenkliges Dreieck 19">
            <a:extLst>
              <a:ext uri="{FF2B5EF4-FFF2-40B4-BE49-F238E27FC236}">
                <a16:creationId xmlns:a16="http://schemas.microsoft.com/office/drawing/2014/main" id="{0D849C95-4FFB-D6F0-3693-F4F466970F37}"/>
              </a:ext>
            </a:extLst>
          </p:cNvPr>
          <p:cNvSpPr/>
          <p:nvPr userDrawn="1"/>
        </p:nvSpPr>
        <p:spPr bwMode="auto">
          <a:xfrm rot="5400000">
            <a:off x="3255001" y="3864685"/>
            <a:ext cx="528056" cy="258192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Gleichschenkliges Dreieck 19">
            <a:extLst>
              <a:ext uri="{FF2B5EF4-FFF2-40B4-BE49-F238E27FC236}">
                <a16:creationId xmlns:a16="http://schemas.microsoft.com/office/drawing/2014/main" id="{8F1533CB-9A52-FBB1-A398-CB6B72419B98}"/>
              </a:ext>
            </a:extLst>
          </p:cNvPr>
          <p:cNvSpPr/>
          <p:nvPr userDrawn="1"/>
        </p:nvSpPr>
        <p:spPr bwMode="auto">
          <a:xfrm rot="5400000">
            <a:off x="7761268" y="3869284"/>
            <a:ext cx="528056" cy="258192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BE08ED4-9019-466B-86E8-AAD69471F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1624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El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7271ED-2DBE-FC85-7961-2989EA290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7611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7271ED-2DBE-FC85-7961-2989EA290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0" y="1604799"/>
            <a:ext cx="11507517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AA8CD81-6325-9234-124F-1DC2AF772DB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2B29521-2F06-4A77-860F-40AC66A92C50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0BA7E8E-4003-859D-B0A5-ACAE91AF0A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D695D4A-A1D4-EDA1-2811-036779A749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473D1FC-EC38-D461-9092-BD07288C5B45}"/>
              </a:ext>
            </a:extLst>
          </p:cNvPr>
          <p:cNvSpPr txBox="1"/>
          <p:nvPr userDrawn="1"/>
        </p:nvSpPr>
        <p:spPr>
          <a:xfrm>
            <a:off x="365820" y="2641600"/>
            <a:ext cx="2186608" cy="58477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1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514458C-0D71-0313-F4D0-0891C938BF2B}"/>
              </a:ext>
            </a:extLst>
          </p:cNvPr>
          <p:cNvSpPr txBox="1"/>
          <p:nvPr userDrawn="1"/>
        </p:nvSpPr>
        <p:spPr>
          <a:xfrm>
            <a:off x="367036" y="3970022"/>
            <a:ext cx="218660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2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A051EAA-969D-7D29-ED0E-1A4E1A8E0E03}"/>
              </a:ext>
            </a:extLst>
          </p:cNvPr>
          <p:cNvSpPr txBox="1"/>
          <p:nvPr userDrawn="1"/>
        </p:nvSpPr>
        <p:spPr>
          <a:xfrm>
            <a:off x="365820" y="5290822"/>
            <a:ext cx="218660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3</a:t>
            </a:r>
          </a:p>
        </p:txBody>
      </p:sp>
      <p:sp>
        <p:nvSpPr>
          <p:cNvPr id="8" name="Gleichschenkliges Dreieck 19">
            <a:extLst>
              <a:ext uri="{FF2B5EF4-FFF2-40B4-BE49-F238E27FC236}">
                <a16:creationId xmlns:a16="http://schemas.microsoft.com/office/drawing/2014/main" id="{0D849C95-4FFB-D6F0-3693-F4F466970F37}"/>
              </a:ext>
            </a:extLst>
          </p:cNvPr>
          <p:cNvSpPr/>
          <p:nvPr userDrawn="1"/>
        </p:nvSpPr>
        <p:spPr bwMode="auto">
          <a:xfrm rot="5400000">
            <a:off x="3080748" y="2793044"/>
            <a:ext cx="528056" cy="258192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F0F5C701-FB24-06B7-098C-982ACD502E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03764" y="2649293"/>
            <a:ext cx="4602891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D7416DE-BF77-4F57-B42F-0F7172B53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2643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El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7271ED-2DBE-FC85-7961-2989EA290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241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5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7271ED-2DBE-FC85-7961-2989EA290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0" y="1604799"/>
            <a:ext cx="11516058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AA8CD81-6325-9234-124F-1DC2AF772DB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198D4E6-C89E-4881-9E26-E3DB5C8B7C90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0BA7E8E-4003-859D-B0A5-ACAE91AF0A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D695D4A-A1D4-EDA1-2811-036779A749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473D1FC-EC38-D461-9092-BD07288C5B45}"/>
              </a:ext>
            </a:extLst>
          </p:cNvPr>
          <p:cNvSpPr txBox="1"/>
          <p:nvPr userDrawn="1"/>
        </p:nvSpPr>
        <p:spPr>
          <a:xfrm>
            <a:off x="365820" y="2641600"/>
            <a:ext cx="2186608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1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514458C-0D71-0313-F4D0-0891C938BF2B}"/>
              </a:ext>
            </a:extLst>
          </p:cNvPr>
          <p:cNvSpPr txBox="1"/>
          <p:nvPr userDrawn="1"/>
        </p:nvSpPr>
        <p:spPr>
          <a:xfrm>
            <a:off x="367036" y="3970022"/>
            <a:ext cx="2186608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2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A051EAA-969D-7D29-ED0E-1A4E1A8E0E03}"/>
              </a:ext>
            </a:extLst>
          </p:cNvPr>
          <p:cNvSpPr txBox="1"/>
          <p:nvPr userDrawn="1"/>
        </p:nvSpPr>
        <p:spPr>
          <a:xfrm>
            <a:off x="365820" y="5290822"/>
            <a:ext cx="218660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3</a:t>
            </a:r>
          </a:p>
        </p:txBody>
      </p:sp>
      <p:sp>
        <p:nvSpPr>
          <p:cNvPr id="8" name="Gleichschenkliges Dreieck 19">
            <a:extLst>
              <a:ext uri="{FF2B5EF4-FFF2-40B4-BE49-F238E27FC236}">
                <a16:creationId xmlns:a16="http://schemas.microsoft.com/office/drawing/2014/main" id="{0D849C95-4FFB-D6F0-3693-F4F466970F37}"/>
              </a:ext>
            </a:extLst>
          </p:cNvPr>
          <p:cNvSpPr/>
          <p:nvPr userDrawn="1"/>
        </p:nvSpPr>
        <p:spPr bwMode="auto">
          <a:xfrm rot="5400000">
            <a:off x="3008740" y="4133313"/>
            <a:ext cx="528056" cy="258192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F0F5C701-FB24-06B7-098C-982ACD502E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86999" y="3995150"/>
            <a:ext cx="4602891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DE6A6D5-C066-406A-AC27-383D5FE6B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6287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El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7271ED-2DBE-FC85-7961-2989EA290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7271ED-2DBE-FC85-7961-2989EA290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0" y="1604799"/>
            <a:ext cx="11516058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AA8CD81-6325-9234-124F-1DC2AF772DB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92D7F9C-7207-4014-978C-EA4FF10A02C7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40BA7E8E-4003-859D-B0A5-ACAE91AF0A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D695D4A-A1D4-EDA1-2811-036779A749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473D1FC-EC38-D461-9092-BD07288C5B45}"/>
              </a:ext>
            </a:extLst>
          </p:cNvPr>
          <p:cNvSpPr txBox="1"/>
          <p:nvPr userDrawn="1"/>
        </p:nvSpPr>
        <p:spPr>
          <a:xfrm>
            <a:off x="365820" y="2641600"/>
            <a:ext cx="2186608" cy="584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1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514458C-0D71-0313-F4D0-0891C938BF2B}"/>
              </a:ext>
            </a:extLst>
          </p:cNvPr>
          <p:cNvSpPr txBox="1"/>
          <p:nvPr userDrawn="1"/>
        </p:nvSpPr>
        <p:spPr>
          <a:xfrm>
            <a:off x="367036" y="3970022"/>
            <a:ext cx="218660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2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A051EAA-969D-7D29-ED0E-1A4E1A8E0E03}"/>
              </a:ext>
            </a:extLst>
          </p:cNvPr>
          <p:cNvSpPr txBox="1"/>
          <p:nvPr userDrawn="1"/>
        </p:nvSpPr>
        <p:spPr>
          <a:xfrm>
            <a:off x="365820" y="5290822"/>
            <a:ext cx="2186608" cy="58477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Element 3</a:t>
            </a:r>
          </a:p>
        </p:txBody>
      </p:sp>
      <p:sp>
        <p:nvSpPr>
          <p:cNvPr id="8" name="Gleichschenkliges Dreieck 19">
            <a:extLst>
              <a:ext uri="{FF2B5EF4-FFF2-40B4-BE49-F238E27FC236}">
                <a16:creationId xmlns:a16="http://schemas.microsoft.com/office/drawing/2014/main" id="{0D849C95-4FFB-D6F0-3693-F4F466970F37}"/>
              </a:ext>
            </a:extLst>
          </p:cNvPr>
          <p:cNvSpPr/>
          <p:nvPr userDrawn="1"/>
        </p:nvSpPr>
        <p:spPr bwMode="auto">
          <a:xfrm rot="5400000">
            <a:off x="3008740" y="5455098"/>
            <a:ext cx="528056" cy="258192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F0F5C701-FB24-06B7-098C-982ACD502E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23792" y="5290822"/>
            <a:ext cx="4602891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48F5558-7C76-4896-A9CD-6D96F4241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027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Kreis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23C20E2-6BE1-4479-A4CD-F19BC6FB4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703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399862B-2A20-446E-4266-7A3FC16BEB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D2AAC-E76A-4FB6-A385-6220230C2F30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EE2BE-1F1B-7FB8-1A97-D08BC0B86C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31B83B-2C2E-CCB7-B1FC-ED46C9A50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graphicFrame>
        <p:nvGraphicFramePr>
          <p:cNvPr id="6" name="Inhaltsplatzhalter 3">
            <a:extLst>
              <a:ext uri="{FF2B5EF4-FFF2-40B4-BE49-F238E27FC236}">
                <a16:creationId xmlns:a16="http://schemas.microsoft.com/office/drawing/2014/main" id="{D86EA2DF-0E1E-2943-640A-D067BFE80D93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80767011"/>
              </p:ext>
            </p:extLst>
          </p:nvPr>
        </p:nvGraphicFramePr>
        <p:xfrm>
          <a:off x="2684462" y="1772816"/>
          <a:ext cx="6823075" cy="44799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035A7F9C-C004-43E0-B39E-9A2E6E134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Überschrift">
            <a:extLst>
              <a:ext uri="{FF2B5EF4-FFF2-40B4-BE49-F238E27FC236}">
                <a16:creationId xmlns:a16="http://schemas.microsoft.com/office/drawing/2014/main" id="{4321CD7B-88FB-4391-AA33-60A6C65436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980" y="1604798"/>
            <a:ext cx="3090723" cy="4344482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338423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Flussdiagramm ohne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A15BFC07-A1F3-4E72-BC93-A34ECE5B85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5211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8FDA1A3-51CC-D374-6A73-D65DDC8B4C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EABB9-6F8C-4907-8F79-C667B4A17D63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9F2CE2-38B5-6C29-94B9-4D8F0B0EEA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48171F-461E-E560-E5D4-BB64C3672EB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0ADA0F9C-086F-A0F1-0CF9-435D3FC6CCC3}"/>
              </a:ext>
            </a:extLst>
          </p:cNvPr>
          <p:cNvSpPr/>
          <p:nvPr userDrawn="1"/>
        </p:nvSpPr>
        <p:spPr>
          <a:xfrm>
            <a:off x="2591737" y="2467739"/>
            <a:ext cx="1296144" cy="648072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le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F14D3284-7212-B009-02FC-979E33B96CB5}"/>
              </a:ext>
            </a:extLst>
          </p:cNvPr>
          <p:cNvSpPr/>
          <p:nvPr userDrawn="1"/>
        </p:nvSpPr>
        <p:spPr>
          <a:xfrm>
            <a:off x="7611642" y="5371436"/>
            <a:ext cx="1296144" cy="648072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le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iger Pfeil 7">
            <a:extLst>
              <a:ext uri="{FF2B5EF4-FFF2-40B4-BE49-F238E27FC236}">
                <a16:creationId xmlns:a16="http://schemas.microsoft.com/office/drawing/2014/main" id="{754BEB98-89E2-EF44-6871-1FDE42EAE9CB}"/>
              </a:ext>
            </a:extLst>
          </p:cNvPr>
          <p:cNvSpPr/>
          <p:nvPr userDrawn="1"/>
        </p:nvSpPr>
        <p:spPr>
          <a:xfrm flipV="1">
            <a:off x="4960017" y="4345016"/>
            <a:ext cx="792088" cy="650653"/>
          </a:xfrm>
          <a:prstGeom prst="ben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F492E0A-7E3A-DCF7-7918-2665C74AD585}"/>
              </a:ext>
            </a:extLst>
          </p:cNvPr>
          <p:cNvSpPr/>
          <p:nvPr userDrawn="1"/>
        </p:nvSpPr>
        <p:spPr>
          <a:xfrm>
            <a:off x="4470400" y="3523198"/>
            <a:ext cx="1296144" cy="648072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le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1DF43F7E-C9CE-C9C2-D188-E0D2B722A922}"/>
              </a:ext>
            </a:extLst>
          </p:cNvPr>
          <p:cNvSpPr/>
          <p:nvPr userDrawn="1"/>
        </p:nvSpPr>
        <p:spPr>
          <a:xfrm>
            <a:off x="5879976" y="4489350"/>
            <a:ext cx="1296144" cy="648072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le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hteckiger Pfeil 10">
            <a:extLst>
              <a:ext uri="{FF2B5EF4-FFF2-40B4-BE49-F238E27FC236}">
                <a16:creationId xmlns:a16="http://schemas.microsoft.com/office/drawing/2014/main" id="{590AA554-9EFA-44A3-340C-8D38E52233D9}"/>
              </a:ext>
            </a:extLst>
          </p:cNvPr>
          <p:cNvSpPr/>
          <p:nvPr userDrawn="1"/>
        </p:nvSpPr>
        <p:spPr>
          <a:xfrm flipV="1">
            <a:off x="3392489" y="3330081"/>
            <a:ext cx="792088" cy="650653"/>
          </a:xfrm>
          <a:prstGeom prst="ben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hteckiger Pfeil 11">
            <a:extLst>
              <a:ext uri="{FF2B5EF4-FFF2-40B4-BE49-F238E27FC236}">
                <a16:creationId xmlns:a16="http://schemas.microsoft.com/office/drawing/2014/main" id="{D673145D-B4B3-9CB7-56DB-A640B807C093}"/>
              </a:ext>
            </a:extLst>
          </p:cNvPr>
          <p:cNvSpPr/>
          <p:nvPr userDrawn="1"/>
        </p:nvSpPr>
        <p:spPr>
          <a:xfrm flipV="1">
            <a:off x="6675538" y="5292704"/>
            <a:ext cx="792088" cy="650653"/>
          </a:xfrm>
          <a:prstGeom prst="ben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Überschrift">
            <a:extLst>
              <a:ext uri="{FF2B5EF4-FFF2-40B4-BE49-F238E27FC236}">
                <a16:creationId xmlns:a16="http://schemas.microsoft.com/office/drawing/2014/main" id="{0E22CB38-65B9-4568-C6A7-3C1077CB2F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980" y="1604798"/>
            <a:ext cx="11507517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F840217C-F10D-427A-8BDD-63AFDF9C9C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159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Flussdiagramm und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A6213BB7-5D20-462F-BABE-97A456D144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602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8FDA1A3-51CC-D374-6A73-D65DDC8B4C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49F86-D7F2-4331-85EE-89A1E48632FB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9F2CE2-38B5-6C29-94B9-4D8F0B0EEA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48171F-461E-E560-E5D4-BB64C3672EB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0ADA0F9C-086F-A0F1-0CF9-435D3FC6CCC3}"/>
              </a:ext>
            </a:extLst>
          </p:cNvPr>
          <p:cNvSpPr/>
          <p:nvPr userDrawn="1"/>
        </p:nvSpPr>
        <p:spPr>
          <a:xfrm>
            <a:off x="2591737" y="2467739"/>
            <a:ext cx="1296144" cy="648072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le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F14D3284-7212-B009-02FC-979E33B96CB5}"/>
              </a:ext>
            </a:extLst>
          </p:cNvPr>
          <p:cNvSpPr/>
          <p:nvPr userDrawn="1"/>
        </p:nvSpPr>
        <p:spPr>
          <a:xfrm>
            <a:off x="7611642" y="5371436"/>
            <a:ext cx="1296144" cy="648072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le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chteckiger Pfeil 7">
            <a:extLst>
              <a:ext uri="{FF2B5EF4-FFF2-40B4-BE49-F238E27FC236}">
                <a16:creationId xmlns:a16="http://schemas.microsoft.com/office/drawing/2014/main" id="{754BEB98-89E2-EF44-6871-1FDE42EAE9CB}"/>
              </a:ext>
            </a:extLst>
          </p:cNvPr>
          <p:cNvSpPr/>
          <p:nvPr userDrawn="1"/>
        </p:nvSpPr>
        <p:spPr>
          <a:xfrm flipV="1">
            <a:off x="4960017" y="4345016"/>
            <a:ext cx="792088" cy="650653"/>
          </a:xfrm>
          <a:prstGeom prst="ben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4F492E0A-7E3A-DCF7-7918-2665C74AD585}"/>
              </a:ext>
            </a:extLst>
          </p:cNvPr>
          <p:cNvSpPr/>
          <p:nvPr userDrawn="1"/>
        </p:nvSpPr>
        <p:spPr>
          <a:xfrm>
            <a:off x="4470400" y="3523198"/>
            <a:ext cx="1296144" cy="648072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le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1DF43F7E-C9CE-C9C2-D188-E0D2B722A922}"/>
              </a:ext>
            </a:extLst>
          </p:cNvPr>
          <p:cNvSpPr/>
          <p:nvPr userDrawn="1"/>
        </p:nvSpPr>
        <p:spPr>
          <a:xfrm>
            <a:off x="5879976" y="4489350"/>
            <a:ext cx="1296144" cy="648072"/>
          </a:xfrm>
          <a:prstGeom prst="round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ele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hteckiger Pfeil 10">
            <a:extLst>
              <a:ext uri="{FF2B5EF4-FFF2-40B4-BE49-F238E27FC236}">
                <a16:creationId xmlns:a16="http://schemas.microsoft.com/office/drawing/2014/main" id="{590AA554-9EFA-44A3-340C-8D38E52233D9}"/>
              </a:ext>
            </a:extLst>
          </p:cNvPr>
          <p:cNvSpPr/>
          <p:nvPr userDrawn="1"/>
        </p:nvSpPr>
        <p:spPr>
          <a:xfrm flipV="1">
            <a:off x="3392489" y="3330081"/>
            <a:ext cx="792088" cy="650653"/>
          </a:xfrm>
          <a:prstGeom prst="ben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hteckiger Pfeil 11">
            <a:extLst>
              <a:ext uri="{FF2B5EF4-FFF2-40B4-BE49-F238E27FC236}">
                <a16:creationId xmlns:a16="http://schemas.microsoft.com/office/drawing/2014/main" id="{D673145D-B4B3-9CB7-56DB-A640B807C093}"/>
              </a:ext>
            </a:extLst>
          </p:cNvPr>
          <p:cNvSpPr/>
          <p:nvPr userDrawn="1"/>
        </p:nvSpPr>
        <p:spPr>
          <a:xfrm flipV="1">
            <a:off x="6675538" y="5292704"/>
            <a:ext cx="792088" cy="650653"/>
          </a:xfrm>
          <a:prstGeom prst="ben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Überschrift">
            <a:extLst>
              <a:ext uri="{FF2B5EF4-FFF2-40B4-BE49-F238E27FC236}">
                <a16:creationId xmlns:a16="http://schemas.microsoft.com/office/drawing/2014/main" id="{0E22CB38-65B9-4568-C6A7-3C1077CB2F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980" y="1604798"/>
            <a:ext cx="11507517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4" name="Mengentext">
            <a:extLst>
              <a:ext uri="{FF2B5EF4-FFF2-40B4-BE49-F238E27FC236}">
                <a16:creationId xmlns:a16="http://schemas.microsoft.com/office/drawing/2014/main" id="{15C209EF-5AF7-949F-258E-EB0557659A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4413168"/>
            <a:ext cx="2457311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5" name="Mengentext">
            <a:extLst>
              <a:ext uri="{FF2B5EF4-FFF2-40B4-BE49-F238E27FC236}">
                <a16:creationId xmlns:a16="http://schemas.microsoft.com/office/drawing/2014/main" id="{075B71E7-E70B-A2C3-F9A7-6F413B3E9B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2276" y="2841597"/>
            <a:ext cx="2457311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Dritte Ebene</a:t>
            </a:r>
          </a:p>
          <a:p>
            <a:pPr lvl="1"/>
            <a:r>
              <a:rPr lang="de-DE" dirty="0"/>
              <a:t>Vierte Ebene</a:t>
            </a: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E144761F-3E60-4B68-891F-C73C376A1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946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3 Bilder und 3 Ebe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300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50B2CFA-3DF0-4823-9402-66C9C7341AEE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9"/>
            <a:ext cx="11507517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Mengentext">
            <a:extLst>
              <a:ext uri="{FF2B5EF4-FFF2-40B4-BE49-F238E27FC236}">
                <a16:creationId xmlns:a16="http://schemas.microsoft.com/office/drawing/2014/main" id="{60E02097-33C4-7465-FA02-4A9752F434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435" y="2608236"/>
            <a:ext cx="767928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1pPr>
            <a:lvl2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2pPr>
            <a:lvl3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</p:txBody>
      </p:sp>
      <p:sp>
        <p:nvSpPr>
          <p:cNvPr id="9" name="Mengentext">
            <a:extLst>
              <a:ext uri="{FF2B5EF4-FFF2-40B4-BE49-F238E27FC236}">
                <a16:creationId xmlns:a16="http://schemas.microsoft.com/office/drawing/2014/main" id="{21902F76-D378-57CF-E94A-0103A0150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0980" y="3880433"/>
            <a:ext cx="767928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1pPr>
            <a:lvl2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2pPr>
            <a:lvl3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Zweite Ebene</a:t>
            </a:r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42F7D7DE-761E-2ABA-1F6E-8CB7AAD1B7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435" y="5152630"/>
            <a:ext cx="767928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1pPr>
            <a:lvl2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2pPr>
            <a:lvl3pPr marL="285750" indent="-285750">
              <a:lnSpc>
                <a:spcPct val="100000"/>
              </a:lnSpc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sz="1600" cap="none" spc="40" baseline="0">
                <a:latin typeface="+mn-lt"/>
              </a:defRPr>
            </a:lvl3pPr>
            <a:lvl4pPr marL="0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4pPr>
            <a:lvl5pPr marL="257175" indent="0">
              <a:lnSpc>
                <a:spcPct val="100000"/>
              </a:lnSpc>
              <a:buNone/>
              <a:tabLst/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Dritte Ebene</a:t>
            </a:r>
          </a:p>
        </p:txBody>
      </p:sp>
      <p:sp>
        <p:nvSpPr>
          <p:cNvPr id="11" name="Bildplatzhalter 5">
            <a:extLst>
              <a:ext uri="{FF2B5EF4-FFF2-40B4-BE49-F238E27FC236}">
                <a16:creationId xmlns:a16="http://schemas.microsoft.com/office/drawing/2014/main" id="{C12189BF-5542-8786-C44F-C668D3DF39D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6477" y="2993145"/>
            <a:ext cx="1362247" cy="67536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2" name="Bildplatzhalter 5">
            <a:extLst>
              <a:ext uri="{FF2B5EF4-FFF2-40B4-BE49-F238E27FC236}">
                <a16:creationId xmlns:a16="http://schemas.microsoft.com/office/drawing/2014/main" id="{F927F8FB-C9BA-9AAB-4DDC-2E9ACC7707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06477" y="4318137"/>
            <a:ext cx="1362247" cy="67536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1B88B7BD-36E3-EC33-0F3F-14267A389B9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06477" y="5628998"/>
            <a:ext cx="1362247" cy="675360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C143C1F-E360-404F-8A9E-47EC53859ACE}"/>
              </a:ext>
            </a:extLst>
          </p:cNvPr>
          <p:cNvSpPr/>
          <p:nvPr userDrawn="1"/>
        </p:nvSpPr>
        <p:spPr>
          <a:xfrm>
            <a:off x="9768408" y="6063099"/>
            <a:ext cx="20696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3">
                    <a:lumMod val="65000"/>
                  </a:schemeClr>
                </a:solidFill>
              </a:rPr>
              <a:t>Source: Name, Datum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3E20B54-FCD7-4E34-9EE4-E81DEE468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238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-Titel-Vollbild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D635133B-DF01-973E-2924-DC39FA5ADB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200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D635133B-DF01-973E-2924-DC39FA5ADB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6553560-BCAE-D548-9152-407AB22F0D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D3152BEA-25F2-DA45-B0B1-41A812857342}"/>
              </a:ext>
            </a:extLst>
          </p:cNvPr>
          <p:cNvSpPr/>
          <p:nvPr userDrawn="1"/>
        </p:nvSpPr>
        <p:spPr>
          <a:xfrm>
            <a:off x="0" y="41"/>
            <a:ext cx="12192000" cy="6858000"/>
          </a:xfrm>
          <a:prstGeom prst="rect">
            <a:avLst/>
          </a:prstGeom>
          <a:gradFill>
            <a:gsLst>
              <a:gs pos="22000">
                <a:schemeClr val="accent3">
                  <a:lumMod val="67000"/>
                  <a:alpha val="0"/>
                </a:schemeClr>
              </a:gs>
              <a:gs pos="50000">
                <a:schemeClr val="accent3">
                  <a:lumMod val="97000"/>
                  <a:lumOff val="3000"/>
                  <a:alpha val="6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BFACE1E2-960B-484C-93F2-E04B2F4048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5838" y="4292600"/>
            <a:ext cx="7679795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cap="none" spc="40" baseline="0">
                <a:latin typeface="+mn-lt"/>
              </a:defRPr>
            </a:lvl1pPr>
            <a:lvl2pPr algn="ctr">
              <a:lnSpc>
                <a:spcPct val="100000"/>
              </a:lnSpc>
              <a:defRPr sz="1600" cap="none" spc="40" baseline="0">
                <a:latin typeface="+mn-lt"/>
              </a:defRPr>
            </a:lvl2pPr>
            <a:lvl3pPr algn="l">
              <a:lnSpc>
                <a:spcPct val="100000"/>
              </a:lnSpc>
              <a:defRPr sz="1867" cap="none" spc="40" baseline="0">
                <a:latin typeface="+mn-lt"/>
              </a:defRPr>
            </a:lvl3pPr>
            <a:lvl4pPr algn="l">
              <a:lnSpc>
                <a:spcPct val="100000"/>
              </a:lnSpc>
              <a:defRPr sz="1867" cap="none" spc="40" baseline="0">
                <a:latin typeface="+mn-lt"/>
              </a:defRPr>
            </a:lvl4pPr>
            <a:lvl5pPr algn="l">
              <a:lnSpc>
                <a:spcPct val="100000"/>
              </a:lnSpc>
              <a:defRPr sz="1867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0037A9FC-59F7-1246-9345-AC66C9271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1464" y="2278063"/>
            <a:ext cx="9721080" cy="2012421"/>
          </a:xfrm>
          <a:prstGeom prst="rect">
            <a:avLst/>
          </a:prstGeom>
        </p:spPr>
        <p:txBody>
          <a:bodyPr anchor="ctr" anchorCtr="0"/>
          <a:lstStyle>
            <a:lvl1pPr algn="ctr">
              <a:defRPr sz="42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19CE9045-4750-C843-C34A-C5218F27440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1EBF43D-B84C-4DD1-99CF-92738FEE69AA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1" name="Footer Placeholder 40">
            <a:extLst>
              <a:ext uri="{FF2B5EF4-FFF2-40B4-BE49-F238E27FC236}">
                <a16:creationId xmlns:a16="http://schemas.microsoft.com/office/drawing/2014/main" id="{EEE3793B-FA34-6A90-2703-ED780F823F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C40CBC25-C7EA-6B9C-CC93-7743FD5FF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025F3E54-D8D1-42BE-9D38-877FB37B4742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A99B65AB-8109-43E9-A77A-725B396F70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06717BF9-FDC8-40D5-B6A7-D55A5E7C49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5091770D-5E5D-4241-A69B-BFD9167436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34A3A31E-6363-4598-85CD-C31AA2FDF0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3EE0C451-A121-40CD-9082-DAD9936D85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53F938B3-039B-452F-8753-3570C3132C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15876B0C-2CB2-4D89-9A29-FDEE693C08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81DD1CB5-5C77-453C-9BA8-9BDCBB68FF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D2FF5A8F-8FA8-4FB3-931F-40CDB4F599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69066DB1-58C0-4BE2-8C28-95C1C22945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AC184CC2-0F60-411B-B671-4A7A71A3A8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57D2DCD0-51A2-4790-BA24-9DE5688A9F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6008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5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9784D163-5DD4-424F-958C-8C131202C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32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13FA791-5B1A-3E7B-56BE-E5A060DF14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264DE-C21B-4A43-9159-EF73EA7B232C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55B8C-E06E-6A82-72B7-1FAE490FD2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9D5F7E-4DC2-0BC6-C188-E6BADAA5388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F47574E-14B1-FF21-41C4-EB9251AAF9C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775520" y="3390900"/>
            <a:ext cx="1224136" cy="924310"/>
          </a:xfrm>
          <a:prstGeom prst="rect">
            <a:avLst/>
          </a:prstGeom>
          <a:solidFill>
            <a:schemeClr val="bg1"/>
          </a:solidFill>
          <a:ln w="6350">
            <a:solidFill>
              <a:srgbClr val="B5B5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D1E1C7B-3D5A-5471-5FFF-FFE4D476CD7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3629726" y="3390900"/>
            <a:ext cx="1224136" cy="924310"/>
          </a:xfrm>
          <a:prstGeom prst="rect">
            <a:avLst/>
          </a:prstGeom>
          <a:solidFill>
            <a:schemeClr val="bg1"/>
          </a:solidFill>
          <a:ln w="6350">
            <a:solidFill>
              <a:srgbClr val="B5B5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1EDDD7B-2097-0137-2F67-C4F6442C389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5483932" y="3390900"/>
            <a:ext cx="1224136" cy="924310"/>
          </a:xfrm>
          <a:prstGeom prst="rect">
            <a:avLst/>
          </a:prstGeom>
          <a:solidFill>
            <a:schemeClr val="bg1"/>
          </a:solidFill>
          <a:ln w="6350">
            <a:solidFill>
              <a:srgbClr val="B5B5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B86470B-7974-C3DB-D989-4E927E87166C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7338138" y="3390900"/>
            <a:ext cx="1224136" cy="924310"/>
          </a:xfrm>
          <a:prstGeom prst="rect">
            <a:avLst/>
          </a:prstGeom>
          <a:solidFill>
            <a:schemeClr val="bg1"/>
          </a:solidFill>
          <a:ln w="6350">
            <a:solidFill>
              <a:srgbClr val="B5B5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C0063C0-4CDD-D5CE-DDBD-544A22B8E814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9192344" y="3390900"/>
            <a:ext cx="1224136" cy="924310"/>
          </a:xfrm>
          <a:prstGeom prst="rect">
            <a:avLst/>
          </a:prstGeom>
          <a:solidFill>
            <a:schemeClr val="bg1"/>
          </a:solidFill>
          <a:ln w="6350">
            <a:solidFill>
              <a:srgbClr val="B5B5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Überschrift">
            <a:extLst>
              <a:ext uri="{FF2B5EF4-FFF2-40B4-BE49-F238E27FC236}">
                <a16:creationId xmlns:a16="http://schemas.microsoft.com/office/drawing/2014/main" id="{4F48C307-8107-6A0D-7500-B94A727A47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980" y="1604799"/>
            <a:ext cx="11507517" cy="67326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520D6921-8FF2-451D-A338-AEA248F6E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2788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Fluss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DB3A8B8-BB95-48DD-B88A-97EF968E60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52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2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094F4F-B317-5F5E-5861-DBBD917BE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C07E9-16C9-4176-BEDB-742118D7A03A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0882A9-254D-D1DF-3C40-828F825B8F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0E113B-E4FC-47A0-E1FA-642D43FD447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2678C7AF-4488-5CC4-2AA5-8DC3D138D42E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221355783"/>
              </p:ext>
            </p:extLst>
          </p:nvPr>
        </p:nvGraphicFramePr>
        <p:xfrm>
          <a:off x="4696041" y="1681728"/>
          <a:ext cx="7152456" cy="448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2A86BF5D-CFB4-46A4-B75F-BC3744762B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1" name="Überschrift">
            <a:extLst>
              <a:ext uri="{FF2B5EF4-FFF2-40B4-BE49-F238E27FC236}">
                <a16:creationId xmlns:a16="http://schemas.microsoft.com/office/drawing/2014/main" id="{8692C1F2-799F-47A3-B533-ED28FD10E9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0980" y="1604798"/>
            <a:ext cx="3090723" cy="4344482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5944734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Übersicht 5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59C333-0554-0FA2-7F0C-F5A4D94A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380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8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59C333-0554-0FA2-7F0C-F5A4D94A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A6248CF-05EA-658F-6484-FC5014B5FD8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90B58EB-0197-45D3-A5B0-FC7A1616EAB6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1D9BF17D-362C-F0F9-B914-79DEC9ED44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29A855D-AEBF-D5DB-479B-49D72A14D8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Überschrift">
            <a:extLst>
              <a:ext uri="{FF2B5EF4-FFF2-40B4-BE49-F238E27FC236}">
                <a16:creationId xmlns:a16="http://schemas.microsoft.com/office/drawing/2014/main" id="{A0BDB6A6-F7E4-E0AB-C83D-72B50B41F8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3090723" cy="4344482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Text Box 6">
            <a:extLst>
              <a:ext uri="{FF2B5EF4-FFF2-40B4-BE49-F238E27FC236}">
                <a16:creationId xmlns:a16="http://schemas.microsoft.com/office/drawing/2014/main" id="{54339E9F-B7DB-46E5-0B93-D28BC072A11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84100" y="2870050"/>
            <a:ext cx="1752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1" dirty="0"/>
              <a:t>Topic</a:t>
            </a:r>
          </a:p>
        </p:txBody>
      </p:sp>
      <p:sp>
        <p:nvSpPr>
          <p:cNvPr id="5" name="Text Box 7">
            <a:extLst>
              <a:ext uri="{FF2B5EF4-FFF2-40B4-BE49-F238E27FC236}">
                <a16:creationId xmlns:a16="http://schemas.microsoft.com/office/drawing/2014/main" id="{75AE1D9D-15D2-41E8-D659-2E08DA9406C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84100" y="3632050"/>
            <a:ext cx="1752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1" dirty="0"/>
              <a:t>Topic</a:t>
            </a:r>
          </a:p>
        </p:txBody>
      </p:sp>
      <p:sp>
        <p:nvSpPr>
          <p:cNvPr id="9" name="Text Box 9">
            <a:extLst>
              <a:ext uri="{FF2B5EF4-FFF2-40B4-BE49-F238E27FC236}">
                <a16:creationId xmlns:a16="http://schemas.microsoft.com/office/drawing/2014/main" id="{11AA00FD-F62C-5879-79CB-8ABAFB61771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84100" y="4409925"/>
            <a:ext cx="1752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1" dirty="0"/>
              <a:t>Topic</a:t>
            </a:r>
          </a:p>
        </p:txBody>
      </p:sp>
      <p:sp>
        <p:nvSpPr>
          <p:cNvPr id="10" name="Text Box 11">
            <a:extLst>
              <a:ext uri="{FF2B5EF4-FFF2-40B4-BE49-F238E27FC236}">
                <a16:creationId xmlns:a16="http://schemas.microsoft.com/office/drawing/2014/main" id="{98DA32FE-9BBA-2CC7-4A17-2D412AB7D92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84100" y="5156050"/>
            <a:ext cx="1752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1" dirty="0"/>
              <a:t>Topic</a:t>
            </a:r>
          </a:p>
        </p:txBody>
      </p:sp>
      <p:sp>
        <p:nvSpPr>
          <p:cNvPr id="11" name="Text Box 12">
            <a:extLst>
              <a:ext uri="{FF2B5EF4-FFF2-40B4-BE49-F238E27FC236}">
                <a16:creationId xmlns:a16="http://schemas.microsoft.com/office/drawing/2014/main" id="{9774B369-9559-74BD-15F9-3C1779F04F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65300" y="1954287"/>
            <a:ext cx="358140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195263" indent="-195263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</p:txBody>
      </p:sp>
      <p:sp>
        <p:nvSpPr>
          <p:cNvPr id="12" name="Text Box 13">
            <a:extLst>
              <a:ext uri="{FF2B5EF4-FFF2-40B4-BE49-F238E27FC236}">
                <a16:creationId xmlns:a16="http://schemas.microsoft.com/office/drawing/2014/main" id="{B74917BD-7492-7C9E-B822-5E93F1A2F5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84100" y="2075581"/>
            <a:ext cx="17526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b="1" dirty="0"/>
              <a:t>Topic</a:t>
            </a:r>
          </a:p>
        </p:txBody>
      </p:sp>
      <p:sp>
        <p:nvSpPr>
          <p:cNvPr id="13" name="AutoShape 14">
            <a:extLst>
              <a:ext uri="{FF2B5EF4-FFF2-40B4-BE49-F238E27FC236}">
                <a16:creationId xmlns:a16="http://schemas.microsoft.com/office/drawing/2014/main" id="{2EA5D77E-F740-B1CE-9906-8418E4F427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87276" y="2777975"/>
            <a:ext cx="1922463" cy="476250"/>
          </a:xfrm>
          <a:prstGeom prst="homePlate">
            <a:avLst>
              <a:gd name="adj" fmla="val 26313"/>
            </a:avLst>
          </a:prstGeom>
          <a:noFill/>
          <a:ln w="6350">
            <a:solidFill>
              <a:srgbClr val="3F68A3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4" name="AutoShape 15">
            <a:extLst>
              <a:ext uri="{FF2B5EF4-FFF2-40B4-BE49-F238E27FC236}">
                <a16:creationId xmlns:a16="http://schemas.microsoft.com/office/drawing/2014/main" id="{89B31E4E-5DC9-D79D-3964-C1C882AC461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87276" y="3565375"/>
            <a:ext cx="1922463" cy="476250"/>
          </a:xfrm>
          <a:prstGeom prst="homePlate">
            <a:avLst>
              <a:gd name="adj" fmla="val 26313"/>
            </a:avLst>
          </a:prstGeom>
          <a:noFill/>
          <a:ln w="6350">
            <a:solidFill>
              <a:srgbClr val="3F68A3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8" name="AutoShape 16">
            <a:extLst>
              <a:ext uri="{FF2B5EF4-FFF2-40B4-BE49-F238E27FC236}">
                <a16:creationId xmlns:a16="http://schemas.microsoft.com/office/drawing/2014/main" id="{A35B745D-531E-355C-8D72-37F0244C33E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87276" y="4336900"/>
            <a:ext cx="1922463" cy="476250"/>
          </a:xfrm>
          <a:prstGeom prst="homePlate">
            <a:avLst>
              <a:gd name="adj" fmla="val 26313"/>
            </a:avLst>
          </a:prstGeom>
          <a:noFill/>
          <a:ln w="6350">
            <a:solidFill>
              <a:srgbClr val="3F68A3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9" name="AutoShape 17">
            <a:extLst>
              <a:ext uri="{FF2B5EF4-FFF2-40B4-BE49-F238E27FC236}">
                <a16:creationId xmlns:a16="http://schemas.microsoft.com/office/drawing/2014/main" id="{FBEE06D5-8D87-0049-8CFD-105D7CA44E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87276" y="5092550"/>
            <a:ext cx="1922463" cy="476250"/>
          </a:xfrm>
          <a:prstGeom prst="homePlate">
            <a:avLst>
              <a:gd name="adj" fmla="val 26313"/>
            </a:avLst>
          </a:prstGeom>
          <a:noFill/>
          <a:ln w="6350">
            <a:solidFill>
              <a:srgbClr val="3F68A3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0" name="AutoShape 18">
            <a:extLst>
              <a:ext uri="{FF2B5EF4-FFF2-40B4-BE49-F238E27FC236}">
                <a16:creationId xmlns:a16="http://schemas.microsoft.com/office/drawing/2014/main" id="{82C92815-9E1B-783F-690B-2EA93E83146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87276" y="1989856"/>
            <a:ext cx="1922463" cy="476250"/>
          </a:xfrm>
          <a:prstGeom prst="homePlate">
            <a:avLst>
              <a:gd name="adj" fmla="val 26313"/>
            </a:avLst>
          </a:prstGeom>
          <a:noFill/>
          <a:ln w="6350">
            <a:solidFill>
              <a:srgbClr val="3F68A3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1" name="Text Box 12">
            <a:extLst>
              <a:ext uri="{FF2B5EF4-FFF2-40B4-BE49-F238E27FC236}">
                <a16:creationId xmlns:a16="http://schemas.microsoft.com/office/drawing/2014/main" id="{3D0C4720-2562-5264-4CF4-FA345EC3802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65300" y="2746375"/>
            <a:ext cx="358140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195263" indent="-195263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</p:txBody>
      </p:sp>
      <p:sp>
        <p:nvSpPr>
          <p:cNvPr id="22" name="Text Box 12">
            <a:extLst>
              <a:ext uri="{FF2B5EF4-FFF2-40B4-BE49-F238E27FC236}">
                <a16:creationId xmlns:a16="http://schemas.microsoft.com/office/drawing/2014/main" id="{30C1D271-2932-9CAC-B78F-1FADA8102F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65300" y="3544366"/>
            <a:ext cx="358140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195263" indent="-195263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</p:txBody>
      </p:sp>
      <p:sp>
        <p:nvSpPr>
          <p:cNvPr id="23" name="Text Box 12">
            <a:extLst>
              <a:ext uri="{FF2B5EF4-FFF2-40B4-BE49-F238E27FC236}">
                <a16:creationId xmlns:a16="http://schemas.microsoft.com/office/drawing/2014/main" id="{C019C8B2-F53A-D32A-2912-69C547AC10A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0112" y="4328533"/>
            <a:ext cx="358140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195263" indent="-195263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</p:txBody>
      </p:sp>
      <p:sp>
        <p:nvSpPr>
          <p:cNvPr id="24" name="Text Box 12">
            <a:extLst>
              <a:ext uri="{FF2B5EF4-FFF2-40B4-BE49-F238E27FC236}">
                <a16:creationId xmlns:a16="http://schemas.microsoft.com/office/drawing/2014/main" id="{44C3E804-1D60-3C8F-D6A0-7F4284D4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65300" y="5060218"/>
            <a:ext cx="3581400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195263" indent="-195263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  <a:p>
            <a:pPr marL="285750" indent="-285750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</a:pPr>
            <a:r>
              <a:rPr lang="en-US" sz="12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rPr>
              <a:t>item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EFF5556-9421-4871-9CD5-4A60D57EA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6390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Übersicht 3 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443B3F-07D7-72D9-D4B0-9C090D607E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963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443B3F-07D7-72D9-D4B0-9C090D607E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1" y="1604798"/>
            <a:ext cx="11507516" cy="679233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67B7CB5C-DD1A-DB73-B655-89EC433692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51B9AC2-AEAE-40E0-8808-DB75F4EC8D93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1037E9FA-9B6A-EDA9-AE2B-36E5FF38A5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D1DCC4FB-4758-DDE4-FEC6-76935400AD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DB9585A-6D49-1CC5-EA8D-4EC4AF3F6484}"/>
              </a:ext>
            </a:extLst>
          </p:cNvPr>
          <p:cNvSpPr/>
          <p:nvPr userDrawn="1"/>
        </p:nvSpPr>
        <p:spPr>
          <a:xfrm>
            <a:off x="4727848" y="2375400"/>
            <a:ext cx="1512168" cy="50405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3F68A3"/>
                </a:solidFill>
              </a:rPr>
              <a:t>Topic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A996D0A-A0E1-DC27-D76E-78209E6A5216}"/>
              </a:ext>
            </a:extLst>
          </p:cNvPr>
          <p:cNvSpPr/>
          <p:nvPr userDrawn="1"/>
        </p:nvSpPr>
        <p:spPr>
          <a:xfrm>
            <a:off x="1991544" y="3455520"/>
            <a:ext cx="2088232" cy="50405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3F68A3"/>
                </a:solidFill>
              </a:rPr>
              <a:t>Topic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E102D5A-5F14-E0E6-52C2-8E1DA719482D}"/>
              </a:ext>
            </a:extLst>
          </p:cNvPr>
          <p:cNvSpPr/>
          <p:nvPr userDrawn="1"/>
        </p:nvSpPr>
        <p:spPr>
          <a:xfrm>
            <a:off x="7048728" y="3455520"/>
            <a:ext cx="2088232" cy="504056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3F68A3"/>
                </a:solidFill>
              </a:rPr>
              <a:t>Topic</a:t>
            </a:r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77E1A141-D775-A0B1-4D12-BEB8E2458090}"/>
              </a:ext>
            </a:extLst>
          </p:cNvPr>
          <p:cNvCxnSpPr>
            <a:stCxn id="10" idx="2"/>
            <a:endCxn id="11" idx="0"/>
          </p:cNvCxnSpPr>
          <p:nvPr userDrawn="1"/>
        </p:nvCxnSpPr>
        <p:spPr>
          <a:xfrm flipH="1">
            <a:off x="3035660" y="2879456"/>
            <a:ext cx="2448272" cy="5760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70DFD602-C7F8-A35A-0721-A6B62C585B61}"/>
              </a:ext>
            </a:extLst>
          </p:cNvPr>
          <p:cNvCxnSpPr>
            <a:stCxn id="10" idx="2"/>
            <a:endCxn id="12" idx="0"/>
          </p:cNvCxnSpPr>
          <p:nvPr userDrawn="1"/>
        </p:nvCxnSpPr>
        <p:spPr>
          <a:xfrm>
            <a:off x="5483932" y="2879456"/>
            <a:ext cx="2608912" cy="5760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Mengentext">
            <a:extLst>
              <a:ext uri="{FF2B5EF4-FFF2-40B4-BE49-F238E27FC236}">
                <a16:creationId xmlns:a16="http://schemas.microsoft.com/office/drawing/2014/main" id="{02210ABB-6734-2D8A-53D4-463E633D3E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5660" y="4308942"/>
            <a:ext cx="36000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Mengentext">
            <a:extLst>
              <a:ext uri="{FF2B5EF4-FFF2-40B4-BE49-F238E27FC236}">
                <a16:creationId xmlns:a16="http://schemas.microsoft.com/office/drawing/2014/main" id="{66DB2D74-3523-CFD8-C4A8-6E54954487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6000" y="4322870"/>
            <a:ext cx="360000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 marL="479988" indent="-234945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4pPr>
            <a:lvl5pPr marL="715415" indent="-241294" algn="l" rtl="0" eaLnBrk="0" fontAlgn="base" hangingPunct="0">
              <a:lnSpc>
                <a:spcPct val="100000"/>
              </a:lnSpc>
              <a:spcBef>
                <a:spcPts val="267"/>
              </a:spcBef>
              <a:spcAft>
                <a:spcPts val="3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tabLst/>
              <a:defRPr lang="de-DE" sz="1600" cap="none" spc="40" baseline="0" dirty="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Tahoma" pitchFamily="34" charset="0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D9B256D-5A10-48A4-A53B-58235FA2A2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79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-Titel-Vollbild V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04E9BFF4-E8E3-BAE5-7954-51F19C3E4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586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04E9BFF4-E8E3-BAE5-7954-51F19C3E4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2E11BAB0-E48E-C841-9D73-2787C12B48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D3152BEA-25F2-DA45-B0B1-41A812857342}"/>
              </a:ext>
            </a:extLst>
          </p:cNvPr>
          <p:cNvSpPr/>
          <p:nvPr userDrawn="1"/>
        </p:nvSpPr>
        <p:spPr>
          <a:xfrm>
            <a:off x="-8850" y="0"/>
            <a:ext cx="12192000" cy="6858000"/>
          </a:xfrm>
          <a:prstGeom prst="rect">
            <a:avLst/>
          </a:prstGeom>
          <a:gradFill>
            <a:gsLst>
              <a:gs pos="22000">
                <a:schemeClr val="accent3">
                  <a:lumMod val="67000"/>
                  <a:alpha val="0"/>
                </a:schemeClr>
              </a:gs>
              <a:gs pos="50000">
                <a:schemeClr val="accent3">
                  <a:lumMod val="97000"/>
                  <a:lumOff val="3000"/>
                  <a:alpha val="6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BFACE1E2-960B-484C-93F2-E04B2F4048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5838" y="4292600"/>
            <a:ext cx="7679795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cap="none" spc="40" baseline="0">
                <a:latin typeface="+mn-lt"/>
              </a:defRPr>
            </a:lvl1pPr>
            <a:lvl2pPr algn="ctr">
              <a:lnSpc>
                <a:spcPct val="100000"/>
              </a:lnSpc>
              <a:defRPr sz="1600" cap="none" spc="40" baseline="0">
                <a:latin typeface="+mn-lt"/>
              </a:defRPr>
            </a:lvl2pPr>
            <a:lvl3pPr algn="l">
              <a:lnSpc>
                <a:spcPct val="100000"/>
              </a:lnSpc>
              <a:defRPr sz="1867" cap="none" spc="40" baseline="0">
                <a:latin typeface="+mn-lt"/>
              </a:defRPr>
            </a:lvl3pPr>
            <a:lvl4pPr algn="l">
              <a:lnSpc>
                <a:spcPct val="100000"/>
              </a:lnSpc>
              <a:defRPr sz="1867" cap="none" spc="40" baseline="0">
                <a:latin typeface="+mn-lt"/>
              </a:defRPr>
            </a:lvl4pPr>
            <a:lvl5pPr algn="l">
              <a:lnSpc>
                <a:spcPct val="100000"/>
              </a:lnSpc>
              <a:defRPr sz="1867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0037A9FC-59F7-1246-9345-AC66C9271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1464" y="2278063"/>
            <a:ext cx="9721080" cy="2012421"/>
          </a:xfrm>
          <a:prstGeom prst="rect">
            <a:avLst/>
          </a:prstGeom>
        </p:spPr>
        <p:txBody>
          <a:bodyPr anchor="ctr" anchorCtr="0"/>
          <a:lstStyle>
            <a:lvl1pPr algn="ctr">
              <a:defRPr sz="42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0" name="Date Placeholder 39">
            <a:extLst>
              <a:ext uri="{FF2B5EF4-FFF2-40B4-BE49-F238E27FC236}">
                <a16:creationId xmlns:a16="http://schemas.microsoft.com/office/drawing/2014/main" id="{90170065-C9A3-24DE-DDEF-BDF98192E2E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B0D362-05E2-493D-BEF3-278653A9AA7C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41" name="Footer Placeholder 40">
            <a:extLst>
              <a:ext uri="{FF2B5EF4-FFF2-40B4-BE49-F238E27FC236}">
                <a16:creationId xmlns:a16="http://schemas.microsoft.com/office/drawing/2014/main" id="{BE2FF977-2B70-14BE-0AC6-78D52D5F458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8FE7AEB2-572E-D99D-3758-D7EAC15118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B95C8CB0-C182-4F3F-ACAD-3661268FB125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813EFFCA-06F9-484C-BDA2-0F794A9576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B1D067AC-0B4F-4E53-AEDE-6D42DD4891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1CB181C7-8FC9-4BB9-B2F2-7532A7204C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6B8B0499-7230-434B-A3D9-8A1C41BC2F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E9E7FC7E-26D3-46DA-887A-39E6F4572D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id="{9554186A-0548-4A64-8A8C-12B7B31AB66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id="{6C97A8BE-CF5C-4F76-B1F5-6C1FEBA2674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id="{6DF77CD5-12B6-4E4F-9663-1E91969FE5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EFF452B5-469F-44CD-9888-5C0D73C4423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DB28AA9A-2030-486D-9E14-0619062257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D874CD38-3279-4813-8F7C-8E80328F32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95613EC0-50A0-4260-A6AA-05C039987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417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-Titel-Vollbild V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6F61505-A5A4-8A01-1281-BC1E6DFD55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4999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46F61505-A5A4-8A01-1281-BC1E6DFD55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hallway with posters on the wall&#10;&#10;Description automatically generated with medium confidence">
            <a:extLst>
              <a:ext uri="{FF2B5EF4-FFF2-40B4-BE49-F238E27FC236}">
                <a16:creationId xmlns:a16="http://schemas.microsoft.com/office/drawing/2014/main" id="{EAD85570-B10F-F95B-35CD-C1216F86C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0" r="5520"/>
          <a:stretch/>
        </p:blipFill>
        <p:spPr>
          <a:xfrm>
            <a:off x="-8098" y="3176"/>
            <a:ext cx="12192000" cy="6852448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D3152BEA-25F2-DA45-B0B1-41A812857342}"/>
              </a:ext>
            </a:extLst>
          </p:cNvPr>
          <p:cNvSpPr/>
          <p:nvPr userDrawn="1"/>
        </p:nvSpPr>
        <p:spPr>
          <a:xfrm>
            <a:off x="-1200" y="29079"/>
            <a:ext cx="12192000" cy="6866807"/>
          </a:xfrm>
          <a:prstGeom prst="rect">
            <a:avLst/>
          </a:prstGeom>
          <a:gradFill>
            <a:gsLst>
              <a:gs pos="0">
                <a:schemeClr val="accent3">
                  <a:lumMod val="67000"/>
                  <a:alpha val="0"/>
                </a:schemeClr>
              </a:gs>
              <a:gs pos="90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BFACE1E2-960B-484C-93F2-E04B2F4048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5838" y="4292600"/>
            <a:ext cx="7679795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cap="none" spc="40" baseline="0">
                <a:latin typeface="+mn-lt"/>
              </a:defRPr>
            </a:lvl1pPr>
            <a:lvl2pPr algn="ctr">
              <a:lnSpc>
                <a:spcPct val="100000"/>
              </a:lnSpc>
              <a:defRPr sz="1600" cap="none" spc="40" baseline="0">
                <a:latin typeface="+mn-lt"/>
              </a:defRPr>
            </a:lvl2pPr>
            <a:lvl3pPr algn="l">
              <a:lnSpc>
                <a:spcPct val="100000"/>
              </a:lnSpc>
              <a:defRPr sz="1867" cap="none" spc="40" baseline="0">
                <a:latin typeface="+mn-lt"/>
              </a:defRPr>
            </a:lvl3pPr>
            <a:lvl4pPr algn="l">
              <a:lnSpc>
                <a:spcPct val="100000"/>
              </a:lnSpc>
              <a:defRPr sz="1867" cap="none" spc="40" baseline="0">
                <a:latin typeface="+mn-lt"/>
              </a:defRPr>
            </a:lvl4pPr>
            <a:lvl5pPr algn="l">
              <a:lnSpc>
                <a:spcPct val="100000"/>
              </a:lnSpc>
              <a:defRPr sz="1867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0037A9FC-59F7-1246-9345-AC66C9271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1464" y="2278063"/>
            <a:ext cx="9721080" cy="2012421"/>
          </a:xfrm>
          <a:prstGeom prst="rect">
            <a:avLst/>
          </a:prstGeom>
        </p:spPr>
        <p:txBody>
          <a:bodyPr anchor="ctr" anchorCtr="0"/>
          <a:lstStyle>
            <a:lvl1pPr algn="ctr">
              <a:defRPr sz="42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9" name="Date Placeholder 28">
            <a:extLst>
              <a:ext uri="{FF2B5EF4-FFF2-40B4-BE49-F238E27FC236}">
                <a16:creationId xmlns:a16="http://schemas.microsoft.com/office/drawing/2014/main" id="{C8D87386-3F94-0F26-30B9-AE4B1176377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9174F63-B349-4C0A-A9D3-B10E95D72775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3FA28848-51D4-56E7-5B15-1E131F725FE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38942275-DDF5-AA19-030F-41A283BFF01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0245235B-89A3-44BE-9041-E79C29855A5A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7494BEF4-5B20-481E-A5E7-DDDDB8ED4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0E79C423-9433-493A-ABAF-4FA547A2C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1BF2D08B-5744-4103-B994-D69EE25D9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EB998B25-D697-4F2D-81F7-445E1283E1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DFCD02E9-FBBD-44E5-A59F-2860B9A0052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C685841E-1DE4-4FB5-BF89-80CF8DDE8A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D08A626A-BA8F-4E83-9535-1318198F1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ED732B2-2579-4FD8-A576-6DF3E4A7D0D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A09CD56B-9D8D-432F-8E01-21C70D0DE5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id="{4BB94861-6FF7-4DF8-8B25-15EFCA174F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690E39FC-6A7B-4652-ADC5-36715D8B86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3" name="Titel 2">
            <a:extLst>
              <a:ext uri="{FF2B5EF4-FFF2-40B4-BE49-F238E27FC236}">
                <a16:creationId xmlns:a16="http://schemas.microsoft.com/office/drawing/2014/main" id="{B07C17D9-33EB-4E45-8F61-B95854D84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16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-Titel-Vollbild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89168F2-90E7-A28E-C784-3D6EF5629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7341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89168F2-90E7-A28E-C784-3D6EF5629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E1D57B34-921E-1346-6106-F5B08A734B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05" y="0"/>
            <a:ext cx="12187790" cy="6857999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D3152BEA-25F2-DA45-B0B1-41A812857342}"/>
              </a:ext>
            </a:extLst>
          </p:cNvPr>
          <p:cNvSpPr/>
          <p:nvPr userDrawn="1"/>
        </p:nvSpPr>
        <p:spPr>
          <a:xfrm>
            <a:off x="3176" y="-1"/>
            <a:ext cx="12200098" cy="6858000"/>
          </a:xfrm>
          <a:prstGeom prst="rect">
            <a:avLst/>
          </a:prstGeom>
          <a:gradFill>
            <a:gsLst>
              <a:gs pos="0">
                <a:schemeClr val="accent3">
                  <a:lumMod val="67000"/>
                  <a:alpha val="0"/>
                </a:schemeClr>
              </a:gs>
              <a:gs pos="90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Mengentext">
            <a:extLst>
              <a:ext uri="{FF2B5EF4-FFF2-40B4-BE49-F238E27FC236}">
                <a16:creationId xmlns:a16="http://schemas.microsoft.com/office/drawing/2014/main" id="{BFACE1E2-960B-484C-93F2-E04B2F4048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55838" y="4292600"/>
            <a:ext cx="7679795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lnSpc>
                <a:spcPct val="100000"/>
              </a:lnSpc>
              <a:defRPr sz="1600" cap="none" spc="40" baseline="0">
                <a:latin typeface="+mn-lt"/>
              </a:defRPr>
            </a:lvl1pPr>
            <a:lvl2pPr algn="ctr">
              <a:lnSpc>
                <a:spcPct val="100000"/>
              </a:lnSpc>
              <a:defRPr sz="1600" cap="none" spc="40" baseline="0">
                <a:latin typeface="+mn-lt"/>
              </a:defRPr>
            </a:lvl2pPr>
            <a:lvl3pPr algn="l">
              <a:lnSpc>
                <a:spcPct val="100000"/>
              </a:lnSpc>
              <a:defRPr sz="1867" cap="none" spc="40" baseline="0">
                <a:latin typeface="+mn-lt"/>
              </a:defRPr>
            </a:lvl3pPr>
            <a:lvl4pPr algn="l">
              <a:lnSpc>
                <a:spcPct val="100000"/>
              </a:lnSpc>
              <a:defRPr sz="1867" cap="none" spc="40" baseline="0">
                <a:latin typeface="+mn-lt"/>
              </a:defRPr>
            </a:lvl4pPr>
            <a:lvl5pPr algn="l">
              <a:lnSpc>
                <a:spcPct val="100000"/>
              </a:lnSpc>
              <a:defRPr sz="1867" cap="none" spc="40" baseline="0">
                <a:latin typeface="+mn-lt"/>
              </a:defRPr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0037A9FC-59F7-1246-9345-AC66C9271D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71464" y="2278063"/>
            <a:ext cx="9721080" cy="2012421"/>
          </a:xfrm>
          <a:prstGeom prst="rect">
            <a:avLst/>
          </a:prstGeom>
        </p:spPr>
        <p:txBody>
          <a:bodyPr anchor="ctr" anchorCtr="0"/>
          <a:lstStyle>
            <a:lvl1pPr algn="ctr">
              <a:defRPr sz="420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9" name="Date Placeholder 28">
            <a:extLst>
              <a:ext uri="{FF2B5EF4-FFF2-40B4-BE49-F238E27FC236}">
                <a16:creationId xmlns:a16="http://schemas.microsoft.com/office/drawing/2014/main" id="{D7270E54-19B6-9B8B-5A92-521D7D559EE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4176A5D-073B-4980-AE41-C5AD3D2DF171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AE79D49-797E-4766-2E3F-3E4106321C0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267043F2-8AA3-4DA6-3C02-2961CEFB9C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867C0CC2-E212-4166-9716-DE6A5D122B20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55C5330B-7A6D-4B6D-8A64-E585A9C73E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DB91BDC3-70E2-46B6-A25D-AE988F595A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A8514634-2FA0-44FC-8E71-215105B46C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980416F1-E901-4417-86C1-7843091CBF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2659B8B8-D19C-448B-B820-DD020C726E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095DF364-7506-4E69-A277-29CB4A608F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23DA3841-E0C6-47DD-A6DC-6391836A04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BFEB7579-CCC5-4945-81A3-A211238887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90C2D46C-D218-4549-A87A-A3EF518EEE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id="{EF40A383-CA35-45A0-80E1-7E7D2AEAAF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FA33BEC2-C61F-482D-93BA-9039CEDEAD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3" name="Titel 2">
            <a:extLst>
              <a:ext uri="{FF2B5EF4-FFF2-40B4-BE49-F238E27FC236}">
                <a16:creationId xmlns:a16="http://schemas.microsoft.com/office/drawing/2014/main" id="{F6081FFD-6D91-42D4-BE79-C62C09BE2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4342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44097BC-159F-8F90-B44E-F4A12FA7C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652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44097BC-159F-8F90-B44E-F4A12FA7C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engentext"/>
          <p:cNvSpPr>
            <a:spLocks noGrp="1"/>
          </p:cNvSpPr>
          <p:nvPr>
            <p:ph type="body" sz="quarter" idx="10" hasCustomPrompt="1"/>
          </p:nvPr>
        </p:nvSpPr>
        <p:spPr>
          <a:xfrm>
            <a:off x="1656693" y="3162516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9" name="Überschrift"/>
          <p:cNvSpPr>
            <a:spLocks noGrp="1"/>
          </p:cNvSpPr>
          <p:nvPr>
            <p:ph type="body" sz="quarter" idx="11"/>
          </p:nvPr>
        </p:nvSpPr>
        <p:spPr>
          <a:xfrm>
            <a:off x="340980" y="1604798"/>
            <a:ext cx="11516057" cy="673265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F8741CD-3F1C-E84A-8F4C-1CF83B7D6B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4513" y="294798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1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89B364F8-AB83-DA4D-849A-83EEDB6B3A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4513" y="364902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2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B8DA3F98-D1E3-F849-B50E-A65184828E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4513" y="428910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3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0ACF6064-DEB7-6A49-89E0-F68DCAB309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14513" y="496728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4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82EEF72A-DFF5-E34F-8BA6-3CA410A45E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4513" y="566070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5</a:t>
            </a:r>
          </a:p>
        </p:txBody>
      </p:sp>
      <p:sp>
        <p:nvSpPr>
          <p:cNvPr id="16" name="Mengentext">
            <a:extLst>
              <a:ext uri="{FF2B5EF4-FFF2-40B4-BE49-F238E27FC236}">
                <a16:creationId xmlns:a16="http://schemas.microsoft.com/office/drawing/2014/main" id="{9C08FC8B-D72D-3C49-AE43-59435B527F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56693" y="3835687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17" name="Mengentext">
            <a:extLst>
              <a:ext uri="{FF2B5EF4-FFF2-40B4-BE49-F238E27FC236}">
                <a16:creationId xmlns:a16="http://schemas.microsoft.com/office/drawing/2014/main" id="{B78C70DF-0EB6-4D4A-A20B-31460DF3CC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56693" y="4508858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18" name="Mengentext">
            <a:extLst>
              <a:ext uri="{FF2B5EF4-FFF2-40B4-BE49-F238E27FC236}">
                <a16:creationId xmlns:a16="http://schemas.microsoft.com/office/drawing/2014/main" id="{36261980-D2E6-7742-AE29-6DE955C6B0E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56693" y="5182029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19" name="Mengentext">
            <a:extLst>
              <a:ext uri="{FF2B5EF4-FFF2-40B4-BE49-F238E27FC236}">
                <a16:creationId xmlns:a16="http://schemas.microsoft.com/office/drawing/2014/main" id="{64607761-955D-6249-AAAB-2450D97D6B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56693" y="5855202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20" name="Mengentext">
            <a:extLst>
              <a:ext uri="{FF2B5EF4-FFF2-40B4-BE49-F238E27FC236}">
                <a16:creationId xmlns:a16="http://schemas.microsoft.com/office/drawing/2014/main" id="{77B10108-F32E-6C4E-A6B7-2F52E77658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14762" y="3162516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80B28D25-BB3B-6B4B-96AD-3F56D64EE16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72582" y="294798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6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24909C24-EE8B-6D4F-AAE4-6761EA5A0C7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72582" y="364902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7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0834207B-4C50-454C-BDAD-9270B9C5CD0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72582" y="428910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8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3FF81E12-4AD8-F840-AF92-83A62713EB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72582" y="4967288"/>
            <a:ext cx="425450" cy="53816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lvl="0"/>
            <a:r>
              <a:rPr lang="de-DE" dirty="0"/>
              <a:t>9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CF82AF0A-B420-7D47-BEEA-1093ECFF9C8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88374" y="5660708"/>
            <a:ext cx="809658" cy="5381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de-DE" dirty="0"/>
              <a:t>10</a:t>
            </a:r>
          </a:p>
        </p:txBody>
      </p:sp>
      <p:sp>
        <p:nvSpPr>
          <p:cNvPr id="26" name="Mengentext">
            <a:extLst>
              <a:ext uri="{FF2B5EF4-FFF2-40B4-BE49-F238E27FC236}">
                <a16:creationId xmlns:a16="http://schemas.microsoft.com/office/drawing/2014/main" id="{D170C4C7-878E-8D48-AB9A-BEA3A20BC8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14762" y="3835687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27" name="Mengentext">
            <a:extLst>
              <a:ext uri="{FF2B5EF4-FFF2-40B4-BE49-F238E27FC236}">
                <a16:creationId xmlns:a16="http://schemas.microsoft.com/office/drawing/2014/main" id="{6E2874F6-0A10-C249-AB11-90B6F57226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14762" y="4508858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28" name="Mengentext">
            <a:extLst>
              <a:ext uri="{FF2B5EF4-FFF2-40B4-BE49-F238E27FC236}">
                <a16:creationId xmlns:a16="http://schemas.microsoft.com/office/drawing/2014/main" id="{2CBAB3E0-0143-D547-9B4C-8E12609633E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14762" y="5182029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29" name="Mengentext">
            <a:extLst>
              <a:ext uri="{FF2B5EF4-FFF2-40B4-BE49-F238E27FC236}">
                <a16:creationId xmlns:a16="http://schemas.microsoft.com/office/drawing/2014/main" id="{FE8EB7ED-46E9-5644-BD09-13AF9733189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414762" y="5855202"/>
            <a:ext cx="443930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lnSpc>
                <a:spcPct val="100000"/>
              </a:lnSpc>
              <a:defRPr sz="1600" cap="none" spc="40" baseline="0">
                <a:latin typeface="+mn-lt"/>
              </a:defRPr>
            </a:lvl1pPr>
            <a:lvl2pPr>
              <a:lnSpc>
                <a:spcPct val="100000"/>
              </a:lnSpc>
              <a:defRPr sz="1600" cap="none" spc="40" baseline="0">
                <a:latin typeface="+mn-lt"/>
              </a:defRPr>
            </a:lvl2pPr>
            <a:lvl3pPr>
              <a:lnSpc>
                <a:spcPct val="100000"/>
              </a:lnSpc>
              <a:defRPr sz="1600" cap="none" spc="40" baseline="0">
                <a:latin typeface="+mn-lt"/>
              </a:defRPr>
            </a:lvl3pPr>
            <a:lvl4pPr>
              <a:lnSpc>
                <a:spcPct val="100000"/>
              </a:lnSpc>
              <a:defRPr sz="1600" cap="none" spc="40" baseline="0">
                <a:latin typeface="+mn-lt"/>
              </a:defRPr>
            </a:lvl4pPr>
            <a:lvl5pPr>
              <a:lnSpc>
                <a:spcPct val="100000"/>
              </a:lnSpc>
              <a:defRPr sz="1600" cap="none" spc="40" baseline="0">
                <a:latin typeface="+mn-lt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/ Kapitelthema</a:t>
            </a:r>
          </a:p>
        </p:txBody>
      </p:sp>
      <p:sp>
        <p:nvSpPr>
          <p:cNvPr id="33" name="Date Placeholder 32">
            <a:extLst>
              <a:ext uri="{FF2B5EF4-FFF2-40B4-BE49-F238E27FC236}">
                <a16:creationId xmlns:a16="http://schemas.microsoft.com/office/drawing/2014/main" id="{CCA3327F-350C-3F3F-4D25-8C02AF3F6180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fld id="{8D952DEF-3E89-4BDD-A57B-9B6900FD76D4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FACADB5D-854E-C229-1E28-0006E81B5B67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35" name="Slide Number Placeholder 34">
            <a:extLst>
              <a:ext uri="{FF2B5EF4-FFF2-40B4-BE49-F238E27FC236}">
                <a16:creationId xmlns:a16="http://schemas.microsoft.com/office/drawing/2014/main" id="{B8762B4C-1610-66D1-7B2D-01B6494C1BF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8FFD09F-04E8-43CD-A889-0F3DB2481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52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sv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6.xml"/><Relationship Id="rId7" Type="http://schemas.openxmlformats.org/officeDocument/2006/relationships/vmlDrawing" Target="../drawings/vmlDrawing5.v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.xml"/><Relationship Id="rId9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oleObject" Target="../embeddings/oleObject11.bin"/><Relationship Id="rId5" Type="http://schemas.openxmlformats.org/officeDocument/2006/relationships/tags" Target="../tags/tag12.xml"/><Relationship Id="rId4" Type="http://schemas.openxmlformats.org/officeDocument/2006/relationships/vmlDrawing" Target="../drawings/vmlDrawing11.vml"/><Relationship Id="rId9" Type="http://schemas.openxmlformats.org/officeDocument/2006/relationships/image" Target="../media/image3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14.v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21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5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oleObject" Target="../embeddings/oleObject20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oleObject" Target="../embeddings/oleObject38.bin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3.svg"/><Relationship Id="rId10" Type="http://schemas.openxmlformats.org/officeDocument/2006/relationships/vmlDrawing" Target="../drawings/vmlDrawing38.vml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6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oleObject" Target="../embeddings/oleObject47.bin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53.xml"/><Relationship Id="rId10" Type="http://schemas.openxmlformats.org/officeDocument/2006/relationships/slideLayout" Target="../slideLayouts/slideLayout51.xml"/><Relationship Id="rId19" Type="http://schemas.openxmlformats.org/officeDocument/2006/relationships/image" Target="../media/image3.svg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vmlDrawing" Target="../drawings/vmlDrawing4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2EAAB7-5441-294F-35F2-3E4E1B7D7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55802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Folie" r:id="rId7" imgW="306" imgH="306" progId="TCLayout.ActiveDocument.1">
                  <p:embed/>
                </p:oleObj>
              </mc:Choice>
              <mc:Fallback>
                <p:oleObj name="think-cell Folie" r:id="rId7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2EAAB7-5441-294F-35F2-3E4E1B7D7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Kopfzeile"/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  <p:sp>
        <p:nvSpPr>
          <p:cNvPr id="51" name="Datumsplatzhalter 3">
            <a:extLst>
              <a:ext uri="{FF2B5EF4-FFF2-40B4-BE49-F238E27FC236}">
                <a16:creationId xmlns:a16="http://schemas.microsoft.com/office/drawing/2014/main" id="{4CF8E9E2-98AE-E1E6-7781-64706BEA4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435" y="6457177"/>
            <a:ext cx="648998" cy="212183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713AE36F-FAFD-4BDE-A63B-029D5DCCF21B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52" name="Foliennummernplatzhalter 5">
            <a:extLst>
              <a:ext uri="{FF2B5EF4-FFF2-40B4-BE49-F238E27FC236}">
                <a16:creationId xmlns:a16="http://schemas.microsoft.com/office/drawing/2014/main" id="{7073C2FD-DC42-8577-6156-612CAB12C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6926" y="6457177"/>
            <a:ext cx="491571" cy="212183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3" name="Fußzeilenplatzhalter 4">
            <a:extLst>
              <a:ext uri="{FF2B5EF4-FFF2-40B4-BE49-F238E27FC236}">
                <a16:creationId xmlns:a16="http://schemas.microsoft.com/office/drawing/2014/main" id="{ADD8747F-EE94-8ECA-D28B-6ED4C0A82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448" y="6457177"/>
            <a:ext cx="9937104" cy="212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Fachbereich Rechts- und Wirtschaftswissenschaften | ISE | Person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103C459-F3B3-4DA9-B8D7-33E817201E38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5" name="Freeform 6"/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6" name="Freeform 7"/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14" name="Freeform 14"/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84A6960F-A63B-4C0B-87D0-E115032FFF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7" name="Freeform 8"/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10" name="Freeform 11"/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11" name="Freeform 12"/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12" name="Freeform 13"/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</p:spTree>
    <p:extLst>
      <p:ext uri="{BB962C8B-B14F-4D97-AF65-F5344CB8AC3E}">
        <p14:creationId xmlns:p14="http://schemas.microsoft.com/office/powerpoint/2010/main" val="3249112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4" r:id="rId1"/>
    <p:sldLayoutId id="2147484418" r:id="rId2"/>
    <p:sldLayoutId id="2147484419" r:id="rId3"/>
  </p:sldLayoutIdLst>
  <p:hf hdr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000" cap="all" spc="200" baseline="0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0" fontAlgn="base" hangingPunct="0">
        <a:lnSpc>
          <a:spcPct val="80000"/>
        </a:lnSpc>
        <a:spcBef>
          <a:spcPts val="267"/>
        </a:spcBef>
        <a:spcAft>
          <a:spcPts val="300"/>
        </a:spcAft>
        <a:buFont typeface="Wingdings" charset="0"/>
        <a:defRPr sz="4267" cap="all" spc="133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marL="2117" indent="-2117" algn="l" rtl="0" eaLnBrk="0" fontAlgn="base" hangingPunct="0">
        <a:spcBef>
          <a:spcPts val="267"/>
        </a:spcBef>
        <a:spcAft>
          <a:spcPts val="300"/>
        </a:spcAft>
        <a:buFont typeface="Wingdings" charset="0"/>
        <a:defRPr sz="2133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2pPr>
      <a:lvl3pPr marL="0" indent="0" algn="l" rtl="0" eaLnBrk="0" fontAlgn="base" hangingPunct="0">
        <a:spcBef>
          <a:spcPts val="267"/>
        </a:spcBef>
        <a:spcAft>
          <a:spcPts val="300"/>
        </a:spcAft>
        <a:buFont typeface="Wingdings" charset="0"/>
        <a:buNone/>
        <a:defRPr sz="1867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3pPr>
      <a:lvl4pPr marL="479988" indent="-234945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4pPr>
      <a:lvl5pPr marL="715415" indent="-241294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5pPr>
      <a:lvl6pPr marL="1820288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6pPr>
      <a:lvl7pPr marL="2429873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7pPr>
      <a:lvl8pPr marL="3039457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8pPr>
      <a:lvl9pPr marL="3649042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011">
          <p15:clr>
            <a:srgbClr val="F26B43"/>
          </p15:clr>
        </p15:guide>
        <p15:guide id="3" pos="7475" userDrawn="1">
          <p15:clr>
            <a:srgbClr val="F26B43"/>
          </p15:clr>
        </p15:guide>
        <p15:guide id="4" pos="211">
          <p15:clr>
            <a:srgbClr val="F26B43"/>
          </p15:clr>
        </p15:guide>
        <p15:guide id="5" pos="5155" userDrawn="1">
          <p15:clr>
            <a:srgbClr val="F26B43"/>
          </p15:clr>
        </p15:guide>
        <p15:guide id="6" orient="horz" pos="2296">
          <p15:clr>
            <a:srgbClr val="F26B43"/>
          </p15:clr>
        </p15:guide>
        <p15:guide id="7" pos="4952" userDrawn="1">
          <p15:clr>
            <a:srgbClr val="F26B43"/>
          </p15:clr>
        </p15:guide>
        <p15:guide id="8" pos="1421">
          <p15:clr>
            <a:srgbClr val="F26B43"/>
          </p15:clr>
        </p15:guide>
        <p15:guide id="9" pos="2631">
          <p15:clr>
            <a:srgbClr val="F26B43"/>
          </p15:clr>
        </p15:guide>
        <p15:guide id="10" orient="horz" pos="3975">
          <p15:clr>
            <a:srgbClr val="F26B43"/>
          </p15:clr>
        </p15:guide>
        <p15:guide id="12" orient="horz" pos="3128">
          <p15:clr>
            <a:srgbClr val="F26B43"/>
          </p15:clr>
        </p15:guide>
        <p15:guide id="13" orient="horz" pos="572">
          <p15:clr>
            <a:srgbClr val="F26B43"/>
          </p15:clr>
        </p15:guide>
        <p15:guide id="14" orient="horz" pos="1435">
          <p15:clr>
            <a:srgbClr val="F26B43"/>
          </p15:clr>
        </p15:guide>
        <p15:guide id="15" orient="horz" pos="1857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566">
          <p15:clr>
            <a:srgbClr val="F26B43"/>
          </p15:clr>
        </p15:guide>
        <p15:guide id="18" pos="3840" userDrawn="1">
          <p15:clr>
            <a:srgbClr val="F26B43"/>
          </p15:clr>
        </p15:guide>
        <p15:guide id="19" pos="76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2EAAB7-5441-294F-35F2-3E4E1B7D7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47294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2EAAB7-5441-294F-35F2-3E4E1B7D7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Datumsplatzhalter 3">
            <a:extLst>
              <a:ext uri="{FF2B5EF4-FFF2-40B4-BE49-F238E27FC236}">
                <a16:creationId xmlns:a16="http://schemas.microsoft.com/office/drawing/2014/main" id="{4CF8E9E2-98AE-E1E6-7781-64706BEA4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435" y="6457177"/>
            <a:ext cx="648998" cy="212183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575AF2B5-49A7-4856-84E5-75D884C26E97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52" name="Foliennummernplatzhalter 5">
            <a:extLst>
              <a:ext uri="{FF2B5EF4-FFF2-40B4-BE49-F238E27FC236}">
                <a16:creationId xmlns:a16="http://schemas.microsoft.com/office/drawing/2014/main" id="{7073C2FD-DC42-8577-6156-612CAB12C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6926" y="6457177"/>
            <a:ext cx="491571" cy="212183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3" name="Fußzeilenplatzhalter 4">
            <a:extLst>
              <a:ext uri="{FF2B5EF4-FFF2-40B4-BE49-F238E27FC236}">
                <a16:creationId xmlns:a16="http://schemas.microsoft.com/office/drawing/2014/main" id="{ADD8747F-EE94-8ECA-D28B-6ED4C0A82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448" y="6457177"/>
            <a:ext cx="9937104" cy="212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996E36B-F29C-4327-8458-C637DDCBA7A2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CA40956D-A141-4ED2-AD7B-BA0D99F0DD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D3BF8194-4581-49A6-8508-73E757CDD1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861387D3-F9FA-450D-9D95-80256F2DBC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5FE8A558-D628-47B4-AAF8-AC5C2053EF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8EDD9BC0-81C1-4CFD-971F-9234D4D9E3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060CC14C-9194-4FF7-9CDD-38D7B1E2C15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CBF59E3-3185-443D-9241-4C9B873497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9280573E-53E9-4245-922D-20E4E9A0FB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ED730392-884D-4C86-A103-07B3F4D8EE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5E0C8CFF-F924-4813-BD95-094A23F721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4EBAB0EB-3534-41AB-BA23-E8F5067ABD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43" name="Kopfzeile">
            <a:extLst>
              <a:ext uri="{FF2B5EF4-FFF2-40B4-BE49-F238E27FC236}">
                <a16:creationId xmlns:a16="http://schemas.microsoft.com/office/drawing/2014/main" id="{3E489A96-4DCE-4E34-B65A-5BAB8FE2B94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462255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</p:sldLayoutIdLst>
  <p:hf hdr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000" cap="all" spc="200" baseline="0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0" fontAlgn="base" hangingPunct="0">
        <a:lnSpc>
          <a:spcPct val="80000"/>
        </a:lnSpc>
        <a:spcBef>
          <a:spcPts val="267"/>
        </a:spcBef>
        <a:spcAft>
          <a:spcPts val="300"/>
        </a:spcAft>
        <a:buFont typeface="Wingdings" charset="0"/>
        <a:defRPr sz="4267" cap="all" spc="133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marL="2117" indent="-2117" algn="l" rtl="0" eaLnBrk="0" fontAlgn="base" hangingPunct="0">
        <a:spcBef>
          <a:spcPts val="267"/>
        </a:spcBef>
        <a:spcAft>
          <a:spcPts val="300"/>
        </a:spcAft>
        <a:buFont typeface="Wingdings" charset="0"/>
        <a:defRPr sz="2133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2pPr>
      <a:lvl3pPr marL="0" indent="0" algn="l" rtl="0" eaLnBrk="0" fontAlgn="base" hangingPunct="0">
        <a:spcBef>
          <a:spcPts val="267"/>
        </a:spcBef>
        <a:spcAft>
          <a:spcPts val="300"/>
        </a:spcAft>
        <a:buFont typeface="Wingdings" charset="0"/>
        <a:buNone/>
        <a:defRPr sz="1867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3pPr>
      <a:lvl4pPr marL="479988" indent="-234945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4pPr>
      <a:lvl5pPr marL="715415" indent="-241294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5pPr>
      <a:lvl6pPr marL="1820288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6pPr>
      <a:lvl7pPr marL="2429873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7pPr>
      <a:lvl8pPr marL="3039457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8pPr>
      <a:lvl9pPr marL="3649042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011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pos="5155" userDrawn="1">
          <p15:clr>
            <a:srgbClr val="F26B43"/>
          </p15:clr>
        </p15:guide>
        <p15:guide id="6" orient="horz" pos="2296">
          <p15:clr>
            <a:srgbClr val="F26B43"/>
          </p15:clr>
        </p15:guide>
        <p15:guide id="7" pos="4951" userDrawn="1">
          <p15:clr>
            <a:srgbClr val="F26B43"/>
          </p15:clr>
        </p15:guide>
        <p15:guide id="8" pos="1421">
          <p15:clr>
            <a:srgbClr val="F26B43"/>
          </p15:clr>
        </p15:guide>
        <p15:guide id="9" pos="2631">
          <p15:clr>
            <a:srgbClr val="F26B43"/>
          </p15:clr>
        </p15:guide>
        <p15:guide id="10" orient="horz" pos="3975">
          <p15:clr>
            <a:srgbClr val="F26B43"/>
          </p15:clr>
        </p15:guide>
        <p15:guide id="11" pos="7680">
          <p15:clr>
            <a:srgbClr val="F26B43"/>
          </p15:clr>
        </p15:guide>
        <p15:guide id="12" orient="horz" pos="3128">
          <p15:clr>
            <a:srgbClr val="F26B43"/>
          </p15:clr>
        </p15:guide>
        <p15:guide id="13" orient="horz" pos="572">
          <p15:clr>
            <a:srgbClr val="F26B43"/>
          </p15:clr>
        </p15:guide>
        <p15:guide id="14" orient="horz" pos="1435">
          <p15:clr>
            <a:srgbClr val="F26B43"/>
          </p15:clr>
        </p15:guide>
        <p15:guide id="15" orient="horz" pos="1857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566">
          <p15:clr>
            <a:srgbClr val="F26B43"/>
          </p15:clr>
        </p15:guide>
        <p15:guide id="18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2EAAB7-5441-294F-35F2-3E4E1B7D7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1865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2EAAB7-5441-294F-35F2-3E4E1B7D7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Datumsplatzhalter 3">
            <a:extLst>
              <a:ext uri="{FF2B5EF4-FFF2-40B4-BE49-F238E27FC236}">
                <a16:creationId xmlns:a16="http://schemas.microsoft.com/office/drawing/2014/main" id="{4CF8E9E2-98AE-E1E6-7781-64706BEA4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435" y="6457177"/>
            <a:ext cx="648998" cy="212183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E65D1876-90A2-4330-8A7A-5AB38369B169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52" name="Foliennummernplatzhalter 5">
            <a:extLst>
              <a:ext uri="{FF2B5EF4-FFF2-40B4-BE49-F238E27FC236}">
                <a16:creationId xmlns:a16="http://schemas.microsoft.com/office/drawing/2014/main" id="{7073C2FD-DC42-8577-6156-612CAB12C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6926" y="6457177"/>
            <a:ext cx="491571" cy="212183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3" name="Fußzeilenplatzhalter 4">
            <a:extLst>
              <a:ext uri="{FF2B5EF4-FFF2-40B4-BE49-F238E27FC236}">
                <a16:creationId xmlns:a16="http://schemas.microsoft.com/office/drawing/2014/main" id="{ADD8747F-EE94-8ECA-D28B-6ED4C0A82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448" y="6457177"/>
            <a:ext cx="9937104" cy="212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4911E03D-EEE7-4946-968D-1138126BABA1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CB634A26-8A3F-457E-88E1-6D1CCD5371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9C2D7F4-8747-4F8F-B72C-F0A97FBACE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254498EC-8EB8-4770-AF2D-494B83FF728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0BBF7BCA-7F84-492D-8481-25A5D932830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DCD2E854-6A53-4F58-8FC8-BE3800F58C4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90FA45D0-7969-451A-BC78-64E7F9C13F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19D5B2D2-9F47-433B-9FED-83D0B262F0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08D825C2-F1C4-4C38-B8D2-CB1BA6A432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2BEF7503-E1F3-41F4-B324-AC27648A16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30CD3BE5-266D-486A-87A9-B06AFCBBB8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A09FF606-F8E9-411E-8E32-33DDA02320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35" name="Kopfzeile">
            <a:extLst>
              <a:ext uri="{FF2B5EF4-FFF2-40B4-BE49-F238E27FC236}">
                <a16:creationId xmlns:a16="http://schemas.microsoft.com/office/drawing/2014/main" id="{519EDD47-03D9-425B-B602-284292A905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931521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3" r:id="rId1"/>
    <p:sldLayoutId id="2147484314" r:id="rId2"/>
  </p:sldLayoutIdLst>
  <p:hf hdr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000" cap="all" spc="200" baseline="0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0" fontAlgn="base" hangingPunct="0">
        <a:lnSpc>
          <a:spcPct val="80000"/>
        </a:lnSpc>
        <a:spcBef>
          <a:spcPts val="267"/>
        </a:spcBef>
        <a:spcAft>
          <a:spcPts val="300"/>
        </a:spcAft>
        <a:buFont typeface="Wingdings" charset="0"/>
        <a:defRPr sz="4267" cap="all" spc="133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marL="2117" indent="-2117" algn="l" rtl="0" eaLnBrk="0" fontAlgn="base" hangingPunct="0">
        <a:spcBef>
          <a:spcPts val="267"/>
        </a:spcBef>
        <a:spcAft>
          <a:spcPts val="300"/>
        </a:spcAft>
        <a:buFont typeface="Wingdings" charset="0"/>
        <a:defRPr sz="2133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2pPr>
      <a:lvl3pPr marL="0" indent="0" algn="l" rtl="0" eaLnBrk="0" fontAlgn="base" hangingPunct="0">
        <a:spcBef>
          <a:spcPts val="267"/>
        </a:spcBef>
        <a:spcAft>
          <a:spcPts val="300"/>
        </a:spcAft>
        <a:buFont typeface="Wingdings" charset="0"/>
        <a:buNone/>
        <a:defRPr sz="1867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3pPr>
      <a:lvl4pPr marL="479988" indent="-234945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4pPr>
      <a:lvl5pPr marL="715415" indent="-241294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5pPr>
      <a:lvl6pPr marL="1820288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6pPr>
      <a:lvl7pPr marL="2429873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7pPr>
      <a:lvl8pPr marL="3039457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8pPr>
      <a:lvl9pPr marL="3649042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011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pos="5155" userDrawn="1">
          <p15:clr>
            <a:srgbClr val="F26B43"/>
          </p15:clr>
        </p15:guide>
        <p15:guide id="6" orient="horz" pos="2294" userDrawn="1">
          <p15:clr>
            <a:srgbClr val="F26B43"/>
          </p15:clr>
        </p15:guide>
        <p15:guide id="7" pos="4951" userDrawn="1">
          <p15:clr>
            <a:srgbClr val="F26B43"/>
          </p15:clr>
        </p15:guide>
        <p15:guide id="8" pos="1421">
          <p15:clr>
            <a:srgbClr val="F26B43"/>
          </p15:clr>
        </p15:guide>
        <p15:guide id="9" pos="2631">
          <p15:clr>
            <a:srgbClr val="F26B43"/>
          </p15:clr>
        </p15:guide>
        <p15:guide id="10" orient="horz" pos="3975">
          <p15:clr>
            <a:srgbClr val="F26B43"/>
          </p15:clr>
        </p15:guide>
        <p15:guide id="11" pos="7680">
          <p15:clr>
            <a:srgbClr val="F26B43"/>
          </p15:clr>
        </p15:guide>
        <p15:guide id="12" orient="horz" pos="3128">
          <p15:clr>
            <a:srgbClr val="F26B43"/>
          </p15:clr>
        </p15:guide>
        <p15:guide id="13" orient="horz" pos="572">
          <p15:clr>
            <a:srgbClr val="F26B43"/>
          </p15:clr>
        </p15:guide>
        <p15:guide id="14" orient="horz" pos="1435">
          <p15:clr>
            <a:srgbClr val="F26B43"/>
          </p15:clr>
        </p15:guide>
        <p15:guide id="15" orient="horz" pos="1856" userDrawn="1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566">
          <p15:clr>
            <a:srgbClr val="F26B43"/>
          </p15:clr>
        </p15:guide>
        <p15:guide id="18" pos="384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2EAAB7-5441-294F-35F2-3E4E1B7D7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7508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Folie" r:id="rId9" imgW="306" imgH="306" progId="TCLayout.ActiveDocument.1">
                  <p:embed/>
                </p:oleObj>
              </mc:Choice>
              <mc:Fallback>
                <p:oleObj name="think-cell Folie" r:id="rId9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2EAAB7-5441-294F-35F2-3E4E1B7D7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Datumsplatzhalter 3">
            <a:extLst>
              <a:ext uri="{FF2B5EF4-FFF2-40B4-BE49-F238E27FC236}">
                <a16:creationId xmlns:a16="http://schemas.microsoft.com/office/drawing/2014/main" id="{4CF8E9E2-98AE-E1E6-7781-64706BEA4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435" y="6457177"/>
            <a:ext cx="648998" cy="212183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808A2CE-B2B5-4AA8-8C5E-652993018A53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52" name="Foliennummernplatzhalter 5">
            <a:extLst>
              <a:ext uri="{FF2B5EF4-FFF2-40B4-BE49-F238E27FC236}">
                <a16:creationId xmlns:a16="http://schemas.microsoft.com/office/drawing/2014/main" id="{7073C2FD-DC42-8577-6156-612CAB12C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6926" y="6457177"/>
            <a:ext cx="491571" cy="212183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3" name="Fußzeilenplatzhalter 4">
            <a:extLst>
              <a:ext uri="{FF2B5EF4-FFF2-40B4-BE49-F238E27FC236}">
                <a16:creationId xmlns:a16="http://schemas.microsoft.com/office/drawing/2014/main" id="{ADD8747F-EE94-8ECA-D28B-6ED4C0A82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448" y="6457177"/>
            <a:ext cx="9937104" cy="212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2991C9D-D532-44C6-B58B-40F5DDF217F3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ABB2EA9D-97D3-4DD7-8E8F-D7EE04FC6F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EA8E9ABE-9826-458C-939A-7C3A8E5959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2E26204-356C-4AA4-80F8-3B9B8E63DA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380701B1-5E34-4A65-B952-B7B00376A0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D8165631-5FAF-4247-BAB2-9B563BBF16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BB36C0D2-AA0D-49E2-90FF-1FDF7580E7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868ED466-39BF-4867-8039-9268FFF675A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DEC19937-78C8-43F2-8522-8A28047D6CF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4C6F8281-DBEF-4D99-9AAD-8714E910743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1C0BD2F4-94EC-4A09-BBD2-831B8A628D9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B6A553BD-067B-4423-8679-71B88FE1FA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  <p:sp>
        <p:nvSpPr>
          <p:cNvPr id="34" name="Kopfzeile">
            <a:extLst>
              <a:ext uri="{FF2B5EF4-FFF2-40B4-BE49-F238E27FC236}">
                <a16:creationId xmlns:a16="http://schemas.microsoft.com/office/drawing/2014/main" id="{3992F22C-9E44-41BA-8F6D-12E0B93A2D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474101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0" r:id="rId3"/>
    <p:sldLayoutId id="2147484421" r:id="rId4"/>
    <p:sldLayoutId id="2147484312" r:id="rId5"/>
  </p:sldLayoutIdLst>
  <p:hf hdr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000" cap="all" spc="200" baseline="0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0" fontAlgn="base" hangingPunct="0">
        <a:lnSpc>
          <a:spcPct val="80000"/>
        </a:lnSpc>
        <a:spcBef>
          <a:spcPts val="267"/>
        </a:spcBef>
        <a:spcAft>
          <a:spcPts val="300"/>
        </a:spcAft>
        <a:buFont typeface="Wingdings" charset="0"/>
        <a:defRPr sz="4267" cap="all" spc="133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marL="2117" indent="-2117" algn="l" rtl="0" eaLnBrk="0" fontAlgn="base" hangingPunct="0">
        <a:spcBef>
          <a:spcPts val="267"/>
        </a:spcBef>
        <a:spcAft>
          <a:spcPts val="300"/>
        </a:spcAft>
        <a:buFont typeface="Wingdings" charset="0"/>
        <a:defRPr sz="2133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2pPr>
      <a:lvl3pPr marL="0" indent="0" algn="l" rtl="0" eaLnBrk="0" fontAlgn="base" hangingPunct="0">
        <a:spcBef>
          <a:spcPts val="267"/>
        </a:spcBef>
        <a:spcAft>
          <a:spcPts val="300"/>
        </a:spcAft>
        <a:buFont typeface="Wingdings" charset="0"/>
        <a:buNone/>
        <a:defRPr sz="1867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3pPr>
      <a:lvl4pPr marL="479988" indent="-234945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4pPr>
      <a:lvl5pPr marL="715415" indent="-241294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5pPr>
      <a:lvl6pPr marL="1820288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6pPr>
      <a:lvl7pPr marL="2429873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7pPr>
      <a:lvl8pPr marL="3039457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8pPr>
      <a:lvl9pPr marL="3649042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011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pos="5155" userDrawn="1">
          <p15:clr>
            <a:srgbClr val="F26B43"/>
          </p15:clr>
        </p15:guide>
        <p15:guide id="6" orient="horz" pos="2296">
          <p15:clr>
            <a:srgbClr val="F26B43"/>
          </p15:clr>
        </p15:guide>
        <p15:guide id="7" pos="4952" userDrawn="1">
          <p15:clr>
            <a:srgbClr val="F26B43"/>
          </p15:clr>
        </p15:guide>
        <p15:guide id="8" pos="1421">
          <p15:clr>
            <a:srgbClr val="F26B43"/>
          </p15:clr>
        </p15:guide>
        <p15:guide id="9" pos="2631">
          <p15:clr>
            <a:srgbClr val="F26B43"/>
          </p15:clr>
        </p15:guide>
        <p15:guide id="10" orient="horz" pos="3975">
          <p15:clr>
            <a:srgbClr val="F26B43"/>
          </p15:clr>
        </p15:guide>
        <p15:guide id="11" pos="7680">
          <p15:clr>
            <a:srgbClr val="F26B43"/>
          </p15:clr>
        </p15:guide>
        <p15:guide id="12" orient="horz" pos="3128">
          <p15:clr>
            <a:srgbClr val="F26B43"/>
          </p15:clr>
        </p15:guide>
        <p15:guide id="13" orient="horz" pos="572">
          <p15:clr>
            <a:srgbClr val="F26B43"/>
          </p15:clr>
        </p15:guide>
        <p15:guide id="14" orient="horz" pos="1434" userDrawn="1">
          <p15:clr>
            <a:srgbClr val="F26B43"/>
          </p15:clr>
        </p15:guide>
        <p15:guide id="15" orient="horz" pos="1857" userDrawn="1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566">
          <p15:clr>
            <a:srgbClr val="F26B43"/>
          </p15:clr>
        </p15:guide>
        <p15:guide id="18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2EAAB7-5441-294F-35F2-3E4E1B7D7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90572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think-cell Folie" r:id="rId22" imgW="306" imgH="306" progId="TCLayout.ActiveDocument.1">
                  <p:embed/>
                </p:oleObj>
              </mc:Choice>
              <mc:Fallback>
                <p:oleObj name="think-cell Folie" r:id="rId22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2EAAB7-5441-294F-35F2-3E4E1B7D7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Datumsplatzhalter 3">
            <a:extLst>
              <a:ext uri="{FF2B5EF4-FFF2-40B4-BE49-F238E27FC236}">
                <a16:creationId xmlns:a16="http://schemas.microsoft.com/office/drawing/2014/main" id="{4CF8E9E2-98AE-E1E6-7781-64706BEA4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435" y="6457177"/>
            <a:ext cx="648998" cy="212183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D4203794-424D-4E0A-9BF8-34F825478E39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52" name="Foliennummernplatzhalter 5">
            <a:extLst>
              <a:ext uri="{FF2B5EF4-FFF2-40B4-BE49-F238E27FC236}">
                <a16:creationId xmlns:a16="http://schemas.microsoft.com/office/drawing/2014/main" id="{7073C2FD-DC42-8577-6156-612CAB12C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6926" y="6457177"/>
            <a:ext cx="491571" cy="212183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3" name="Fußzeilenplatzhalter 4">
            <a:extLst>
              <a:ext uri="{FF2B5EF4-FFF2-40B4-BE49-F238E27FC236}">
                <a16:creationId xmlns:a16="http://schemas.microsoft.com/office/drawing/2014/main" id="{ADD8747F-EE94-8ECA-D28B-6ED4C0A82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448" y="6457177"/>
            <a:ext cx="9937104" cy="212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21" name="Kopfzeile">
            <a:extLst>
              <a:ext uri="{FF2B5EF4-FFF2-40B4-BE49-F238E27FC236}">
                <a16:creationId xmlns:a16="http://schemas.microsoft.com/office/drawing/2014/main" id="{98059C62-368E-4D8E-92C9-3356861F98F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AFF5A659-D9BD-4167-A535-E2FD8CF839CA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9C847D31-E7ED-47C6-93F5-9B9102B716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9B209DAC-1E6F-478D-90B7-BFE89DFE38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28B98C1D-F58C-4CB5-B264-E2DAE86094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0775850B-5F88-4044-AAC5-F0C0DA2139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F0E7AD19-1253-4BFB-9C40-5981F9578D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153559CA-4394-4C4A-87CA-5AC45006A7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32053560-1D0D-4AF8-8C39-DFBFFAAC66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ABA7E737-D204-4F9A-AB28-3A36D3FBE5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9636B84E-F68B-4AA5-B515-D3E357C80F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F94D8108-9FAD-4C70-B95E-58591A1D0E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AC9A3599-F35F-40D4-9DC7-B191E4DE58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</p:spTree>
    <p:extLst>
      <p:ext uri="{BB962C8B-B14F-4D97-AF65-F5344CB8AC3E}">
        <p14:creationId xmlns:p14="http://schemas.microsoft.com/office/powerpoint/2010/main" val="61119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  <p:sldLayoutId id="2147484326" r:id="rId11"/>
    <p:sldLayoutId id="2147484327" r:id="rId12"/>
    <p:sldLayoutId id="2147484328" r:id="rId13"/>
    <p:sldLayoutId id="2147484329" r:id="rId14"/>
    <p:sldLayoutId id="2147484330" r:id="rId15"/>
    <p:sldLayoutId id="2147484331" r:id="rId16"/>
    <p:sldLayoutId id="2147484332" r:id="rId17"/>
    <p:sldLayoutId id="2147484333" r:id="rId18"/>
  </p:sldLayoutIdLst>
  <p:hf hdr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000" cap="all" spc="200" baseline="0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0" fontAlgn="base" hangingPunct="0">
        <a:lnSpc>
          <a:spcPct val="80000"/>
        </a:lnSpc>
        <a:spcBef>
          <a:spcPts val="267"/>
        </a:spcBef>
        <a:spcAft>
          <a:spcPts val="300"/>
        </a:spcAft>
        <a:buFont typeface="Wingdings" charset="0"/>
        <a:defRPr sz="4267" cap="all" spc="133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marL="2117" indent="-2117" algn="l" rtl="0" eaLnBrk="0" fontAlgn="base" hangingPunct="0">
        <a:spcBef>
          <a:spcPts val="267"/>
        </a:spcBef>
        <a:spcAft>
          <a:spcPts val="300"/>
        </a:spcAft>
        <a:buFont typeface="Wingdings" charset="0"/>
        <a:defRPr sz="2133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2pPr>
      <a:lvl3pPr marL="0" indent="0" algn="l" rtl="0" eaLnBrk="0" fontAlgn="base" hangingPunct="0">
        <a:spcBef>
          <a:spcPts val="267"/>
        </a:spcBef>
        <a:spcAft>
          <a:spcPts val="300"/>
        </a:spcAft>
        <a:buFont typeface="Wingdings" charset="0"/>
        <a:buNone/>
        <a:defRPr sz="1867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3pPr>
      <a:lvl4pPr marL="479988" indent="-234945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4pPr>
      <a:lvl5pPr marL="715415" indent="-241294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5pPr>
      <a:lvl6pPr marL="1820288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6pPr>
      <a:lvl7pPr marL="2429873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7pPr>
      <a:lvl8pPr marL="3039457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8pPr>
      <a:lvl9pPr marL="3649042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011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pos="5155" userDrawn="1">
          <p15:clr>
            <a:srgbClr val="F26B43"/>
          </p15:clr>
        </p15:guide>
        <p15:guide id="6" orient="horz" pos="2296">
          <p15:clr>
            <a:srgbClr val="F26B43"/>
          </p15:clr>
        </p15:guide>
        <p15:guide id="7" pos="4951" userDrawn="1">
          <p15:clr>
            <a:srgbClr val="F26B43"/>
          </p15:clr>
        </p15:guide>
        <p15:guide id="8" pos="1421">
          <p15:clr>
            <a:srgbClr val="F26B43"/>
          </p15:clr>
        </p15:guide>
        <p15:guide id="9" pos="2631">
          <p15:clr>
            <a:srgbClr val="F26B43"/>
          </p15:clr>
        </p15:guide>
        <p15:guide id="10" orient="horz" pos="3975">
          <p15:clr>
            <a:srgbClr val="F26B43"/>
          </p15:clr>
        </p15:guide>
        <p15:guide id="11" pos="7680">
          <p15:clr>
            <a:srgbClr val="F26B43"/>
          </p15:clr>
        </p15:guide>
        <p15:guide id="12" orient="horz" pos="3128">
          <p15:clr>
            <a:srgbClr val="F26B43"/>
          </p15:clr>
        </p15:guide>
        <p15:guide id="13" orient="horz" pos="572">
          <p15:clr>
            <a:srgbClr val="F26B43"/>
          </p15:clr>
        </p15:guide>
        <p15:guide id="14" orient="horz" pos="1435">
          <p15:clr>
            <a:srgbClr val="F26B43"/>
          </p15:clr>
        </p15:guide>
        <p15:guide id="15" orient="horz" pos="1857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566">
          <p15:clr>
            <a:srgbClr val="F26B43"/>
          </p15:clr>
        </p15:guide>
        <p15:guide id="18" pos="38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2EAAB7-5441-294F-35F2-3E4E1B7D7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63807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8" name="think-cell Folie" r:id="rId12" imgW="306" imgH="306" progId="TCLayout.ActiveDocument.1">
                  <p:embed/>
                </p:oleObj>
              </mc:Choice>
              <mc:Fallback>
                <p:oleObj name="think-cell Folie" r:id="rId12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2EAAB7-5441-294F-35F2-3E4E1B7D7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Datumsplatzhalter 3">
            <a:extLst>
              <a:ext uri="{FF2B5EF4-FFF2-40B4-BE49-F238E27FC236}">
                <a16:creationId xmlns:a16="http://schemas.microsoft.com/office/drawing/2014/main" id="{4CF8E9E2-98AE-E1E6-7781-64706BEA4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435" y="6457177"/>
            <a:ext cx="648998" cy="212183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80E9FEB6-AED5-412B-9937-63F3DDC7DEF5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52" name="Foliennummernplatzhalter 5">
            <a:extLst>
              <a:ext uri="{FF2B5EF4-FFF2-40B4-BE49-F238E27FC236}">
                <a16:creationId xmlns:a16="http://schemas.microsoft.com/office/drawing/2014/main" id="{7073C2FD-DC42-8577-6156-612CAB12C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6926" y="6457177"/>
            <a:ext cx="491571" cy="212183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3" name="Fußzeilenplatzhalter 4">
            <a:extLst>
              <a:ext uri="{FF2B5EF4-FFF2-40B4-BE49-F238E27FC236}">
                <a16:creationId xmlns:a16="http://schemas.microsoft.com/office/drawing/2014/main" id="{ADD8747F-EE94-8ECA-D28B-6ED4C0A82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448" y="6457177"/>
            <a:ext cx="9937104" cy="212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21" name="Kopfzeile">
            <a:extLst>
              <a:ext uri="{FF2B5EF4-FFF2-40B4-BE49-F238E27FC236}">
                <a16:creationId xmlns:a16="http://schemas.microsoft.com/office/drawing/2014/main" id="{7FD71C42-482D-4F2D-98F5-52E5CEFC957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B5E55908-7D52-49BF-8A7A-6F6B021EBE89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39817E45-CF11-46C6-AC68-30A9DF1516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1DD54CB3-8B69-4EC4-A436-E249F46D23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BEC6260-F5E7-45BD-B163-35D75B865D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D5E60847-3375-4266-9F25-26634BFB5E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F3DD71FF-D58A-40D0-8683-A11D4B587E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4DC740A9-5A08-4A11-B859-E0B84B2C10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D790C95-D4B5-462A-9FB9-9DD95AC30A9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F0248CF5-EF29-4198-B0E3-7577A96FF29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DBB40C21-9B6A-4512-9659-8A3F306FF5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188928B7-206E-4F6D-8404-A454283FC2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B364156F-E6EB-4F69-826E-091B31FD3A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</p:spTree>
    <p:extLst>
      <p:ext uri="{BB962C8B-B14F-4D97-AF65-F5344CB8AC3E}">
        <p14:creationId xmlns:p14="http://schemas.microsoft.com/office/powerpoint/2010/main" val="474093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5" r:id="rId1"/>
    <p:sldLayoutId id="2147484336" r:id="rId2"/>
    <p:sldLayoutId id="2147484337" r:id="rId3"/>
    <p:sldLayoutId id="2147484338" r:id="rId4"/>
    <p:sldLayoutId id="2147484339" r:id="rId5"/>
    <p:sldLayoutId id="2147484340" r:id="rId6"/>
    <p:sldLayoutId id="2147484341" r:id="rId7"/>
    <p:sldLayoutId id="2147484342" r:id="rId8"/>
  </p:sldLayoutIdLst>
  <p:hf hdr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000" cap="all" spc="200" baseline="0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0" fontAlgn="base" hangingPunct="0">
        <a:lnSpc>
          <a:spcPct val="80000"/>
        </a:lnSpc>
        <a:spcBef>
          <a:spcPts val="267"/>
        </a:spcBef>
        <a:spcAft>
          <a:spcPts val="300"/>
        </a:spcAft>
        <a:buFont typeface="Wingdings" charset="0"/>
        <a:defRPr sz="4267" cap="all" spc="133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marL="2117" indent="-2117" algn="l" rtl="0" eaLnBrk="0" fontAlgn="base" hangingPunct="0">
        <a:spcBef>
          <a:spcPts val="267"/>
        </a:spcBef>
        <a:spcAft>
          <a:spcPts val="300"/>
        </a:spcAft>
        <a:buFont typeface="Wingdings" charset="0"/>
        <a:defRPr sz="2133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2pPr>
      <a:lvl3pPr marL="0" indent="0" algn="l" rtl="0" eaLnBrk="0" fontAlgn="base" hangingPunct="0">
        <a:spcBef>
          <a:spcPts val="267"/>
        </a:spcBef>
        <a:spcAft>
          <a:spcPts val="300"/>
        </a:spcAft>
        <a:buFont typeface="Wingdings" charset="0"/>
        <a:buNone/>
        <a:defRPr sz="1867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3pPr>
      <a:lvl4pPr marL="479988" indent="-234945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4pPr>
      <a:lvl5pPr marL="715415" indent="-241294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5pPr>
      <a:lvl6pPr marL="1820288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6pPr>
      <a:lvl7pPr marL="2429873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7pPr>
      <a:lvl8pPr marL="3039457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8pPr>
      <a:lvl9pPr marL="3649042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011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pos="5155" userDrawn="1">
          <p15:clr>
            <a:srgbClr val="F26B43"/>
          </p15:clr>
        </p15:guide>
        <p15:guide id="6" orient="horz" pos="2296">
          <p15:clr>
            <a:srgbClr val="F26B43"/>
          </p15:clr>
        </p15:guide>
        <p15:guide id="7" pos="4952" userDrawn="1">
          <p15:clr>
            <a:srgbClr val="F26B43"/>
          </p15:clr>
        </p15:guide>
        <p15:guide id="8" pos="1421">
          <p15:clr>
            <a:srgbClr val="F26B43"/>
          </p15:clr>
        </p15:guide>
        <p15:guide id="9" pos="2631">
          <p15:clr>
            <a:srgbClr val="F26B43"/>
          </p15:clr>
        </p15:guide>
        <p15:guide id="10" orient="horz" pos="3975">
          <p15:clr>
            <a:srgbClr val="F26B43"/>
          </p15:clr>
        </p15:guide>
        <p15:guide id="11" pos="7680">
          <p15:clr>
            <a:srgbClr val="F26B43"/>
          </p15:clr>
        </p15:guide>
        <p15:guide id="12" orient="horz" pos="3128">
          <p15:clr>
            <a:srgbClr val="F26B43"/>
          </p15:clr>
        </p15:guide>
        <p15:guide id="13" orient="horz" pos="572">
          <p15:clr>
            <a:srgbClr val="F26B43"/>
          </p15:clr>
        </p15:guide>
        <p15:guide id="14" orient="horz" pos="1435">
          <p15:clr>
            <a:srgbClr val="F26B43"/>
          </p15:clr>
        </p15:guide>
        <p15:guide id="15" orient="horz" pos="1857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566">
          <p15:clr>
            <a:srgbClr val="F26B43"/>
          </p15:clr>
        </p15:guide>
        <p15:guide id="18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C2EAAB7-5441-294F-35F2-3E4E1B7D7F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6480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4" name="think-cell Folie" r:id="rId16" imgW="306" imgH="306" progId="TCLayout.ActiveDocument.1">
                  <p:embed/>
                </p:oleObj>
              </mc:Choice>
              <mc:Fallback>
                <p:oleObj name="think-cell Folie" r:id="rId16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C2EAAB7-5441-294F-35F2-3E4E1B7D7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Datumsplatzhalter 3">
            <a:extLst>
              <a:ext uri="{FF2B5EF4-FFF2-40B4-BE49-F238E27FC236}">
                <a16:creationId xmlns:a16="http://schemas.microsoft.com/office/drawing/2014/main" id="{4CF8E9E2-98AE-E1E6-7781-64706BEA4A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4435" y="6457177"/>
            <a:ext cx="648998" cy="212183"/>
          </a:xfrm>
          <a:prstGeom prst="rect">
            <a:avLst/>
          </a:prstGeom>
        </p:spPr>
        <p:txBody>
          <a:bodyPr vert="horz" wrap="none" lIns="0" tIns="45720" rIns="3600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D0D6FEED-DA51-4399-AC1F-5AC1833FC2D8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52" name="Foliennummernplatzhalter 5">
            <a:extLst>
              <a:ext uri="{FF2B5EF4-FFF2-40B4-BE49-F238E27FC236}">
                <a16:creationId xmlns:a16="http://schemas.microsoft.com/office/drawing/2014/main" id="{7073C2FD-DC42-8577-6156-612CAB12C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6926" y="6457177"/>
            <a:ext cx="491571" cy="212183"/>
          </a:xfrm>
          <a:prstGeom prst="rect">
            <a:avLst/>
          </a:prstGeom>
        </p:spPr>
        <p:txBody>
          <a:bodyPr vert="horz" wrap="none" lIns="91440" tIns="45720" rIns="0" bIns="45720" rtlCol="0" anchor="ctr"/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90C102AE-0422-49F2-AB6F-2D341D1EB39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3" name="Fußzeilenplatzhalter 4">
            <a:extLst>
              <a:ext uri="{FF2B5EF4-FFF2-40B4-BE49-F238E27FC236}">
                <a16:creationId xmlns:a16="http://schemas.microsoft.com/office/drawing/2014/main" id="{ADD8747F-EE94-8ECA-D28B-6ED4C0A827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27448" y="6457177"/>
            <a:ext cx="9937104" cy="212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/>
                </a:solidFill>
              </a:defRPr>
            </a:lvl1pPr>
          </a:lstStyle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21" name="Kopfzeile">
            <a:extLst>
              <a:ext uri="{FF2B5EF4-FFF2-40B4-BE49-F238E27FC236}">
                <a16:creationId xmlns:a16="http://schemas.microsoft.com/office/drawing/2014/main" id="{3D86E64B-65B2-41C2-8BB7-EE0DE4CCC77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36000" y="696384"/>
            <a:ext cx="7525299" cy="144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  <a:endParaRPr lang="de-DE" altLang="de-DE" dirty="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7A61AD5C-32CF-44EC-9755-3DBCB31B815F}"/>
              </a:ext>
            </a:extLst>
          </p:cNvPr>
          <p:cNvGrpSpPr/>
          <p:nvPr userDrawn="1"/>
        </p:nvGrpSpPr>
        <p:grpSpPr>
          <a:xfrm>
            <a:off x="7861300" y="412750"/>
            <a:ext cx="4330700" cy="910165"/>
            <a:chOff x="7861300" y="412750"/>
            <a:chExt cx="4330700" cy="91016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3FAD9281-201B-41D9-A082-194376E3E0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300" y="412750"/>
              <a:ext cx="4330700" cy="910165"/>
            </a:xfrm>
            <a:custGeom>
              <a:avLst/>
              <a:gdLst>
                <a:gd name="T0" fmla="*/ 0 w 2079"/>
                <a:gd name="T1" fmla="*/ 0 h 831"/>
                <a:gd name="T2" fmla="*/ 0 w 2079"/>
                <a:gd name="T3" fmla="*/ 0 h 831"/>
                <a:gd name="T4" fmla="*/ 2079 w 2079"/>
                <a:gd name="T5" fmla="*/ 0 h 831"/>
                <a:gd name="T6" fmla="*/ 2079 w 2079"/>
                <a:gd name="T7" fmla="*/ 831 h 831"/>
                <a:gd name="T8" fmla="*/ 0 w 2079"/>
                <a:gd name="T9" fmla="*/ 831 h 831"/>
                <a:gd name="T10" fmla="*/ 0 w 2079"/>
                <a:gd name="T11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9" h="831">
                  <a:moveTo>
                    <a:pt x="0" y="0"/>
                  </a:moveTo>
                  <a:lnTo>
                    <a:pt x="0" y="0"/>
                  </a:lnTo>
                  <a:lnTo>
                    <a:pt x="2079" y="0"/>
                  </a:lnTo>
                  <a:lnTo>
                    <a:pt x="2079" y="831"/>
                  </a:lnTo>
                  <a:lnTo>
                    <a:pt x="0" y="8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EFEF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 dirty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9EC52586-EDDC-4579-A4F0-98394E988A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63 w 647"/>
                <a:gd name="T1" fmla="*/ 676 h 701"/>
                <a:gd name="T2" fmla="*/ 548 w 647"/>
                <a:gd name="T3" fmla="*/ 108 h 701"/>
                <a:gd name="T4" fmla="*/ 625 w 647"/>
                <a:gd name="T5" fmla="*/ 468 h 701"/>
                <a:gd name="T6" fmla="*/ 306 w 647"/>
                <a:gd name="T7" fmla="*/ 570 h 701"/>
                <a:gd name="T8" fmla="*/ 286 w 647"/>
                <a:gd name="T9" fmla="*/ 617 h 701"/>
                <a:gd name="T10" fmla="*/ 352 w 647"/>
                <a:gd name="T11" fmla="*/ 524 h 701"/>
                <a:gd name="T12" fmla="*/ 528 w 647"/>
                <a:gd name="T13" fmla="*/ 313 h 701"/>
                <a:gd name="T14" fmla="*/ 399 w 647"/>
                <a:gd name="T15" fmla="*/ 500 h 701"/>
                <a:gd name="T16" fmla="*/ 231 w 647"/>
                <a:gd name="T17" fmla="*/ 349 h 701"/>
                <a:gd name="T18" fmla="*/ 269 w 647"/>
                <a:gd name="T19" fmla="*/ 246 h 701"/>
                <a:gd name="T20" fmla="*/ 262 w 647"/>
                <a:gd name="T21" fmla="*/ 490 h 701"/>
                <a:gd name="T22" fmla="*/ 283 w 647"/>
                <a:gd name="T23" fmla="*/ 530 h 701"/>
                <a:gd name="T24" fmla="*/ 274 w 647"/>
                <a:gd name="T25" fmla="*/ 517 h 701"/>
                <a:gd name="T26" fmla="*/ 346 w 647"/>
                <a:gd name="T27" fmla="*/ 445 h 701"/>
                <a:gd name="T28" fmla="*/ 323 w 647"/>
                <a:gd name="T29" fmla="*/ 464 h 701"/>
                <a:gd name="T30" fmla="*/ 335 w 647"/>
                <a:gd name="T31" fmla="*/ 381 h 701"/>
                <a:gd name="T32" fmla="*/ 377 w 647"/>
                <a:gd name="T33" fmla="*/ 394 h 701"/>
                <a:gd name="T34" fmla="*/ 407 w 647"/>
                <a:gd name="T35" fmla="*/ 348 h 701"/>
                <a:gd name="T36" fmla="*/ 419 w 647"/>
                <a:gd name="T37" fmla="*/ 329 h 701"/>
                <a:gd name="T38" fmla="*/ 498 w 647"/>
                <a:gd name="T39" fmla="*/ 216 h 701"/>
                <a:gd name="T40" fmla="*/ 229 w 647"/>
                <a:gd name="T41" fmla="*/ 494 h 701"/>
                <a:gd name="T42" fmla="*/ 163 w 647"/>
                <a:gd name="T43" fmla="*/ 505 h 701"/>
                <a:gd name="T44" fmla="*/ 156 w 647"/>
                <a:gd name="T45" fmla="*/ 425 h 701"/>
                <a:gd name="T46" fmla="*/ 140 w 647"/>
                <a:gd name="T47" fmla="*/ 399 h 701"/>
                <a:gd name="T48" fmla="*/ 177 w 647"/>
                <a:gd name="T49" fmla="*/ 283 h 701"/>
                <a:gd name="T50" fmla="*/ 180 w 647"/>
                <a:gd name="T51" fmla="*/ 246 h 701"/>
                <a:gd name="T52" fmla="*/ 290 w 647"/>
                <a:gd name="T53" fmla="*/ 218 h 701"/>
                <a:gd name="T54" fmla="*/ 331 w 647"/>
                <a:gd name="T55" fmla="*/ 113 h 701"/>
                <a:gd name="T56" fmla="*/ 383 w 647"/>
                <a:gd name="T57" fmla="*/ 173 h 701"/>
                <a:gd name="T58" fmla="*/ 457 w 647"/>
                <a:gd name="T59" fmla="*/ 171 h 701"/>
                <a:gd name="T60" fmla="*/ 393 w 647"/>
                <a:gd name="T61" fmla="*/ 265 h 701"/>
                <a:gd name="T62" fmla="*/ 384 w 647"/>
                <a:gd name="T63" fmla="*/ 229 h 701"/>
                <a:gd name="T64" fmla="*/ 384 w 647"/>
                <a:gd name="T65" fmla="*/ 222 h 701"/>
                <a:gd name="T66" fmla="*/ 291 w 647"/>
                <a:gd name="T67" fmla="*/ 250 h 701"/>
                <a:gd name="T68" fmla="*/ 305 w 647"/>
                <a:gd name="T69" fmla="*/ 259 h 701"/>
                <a:gd name="T70" fmla="*/ 257 w 647"/>
                <a:gd name="T71" fmla="*/ 403 h 701"/>
                <a:gd name="T72" fmla="*/ 272 w 647"/>
                <a:gd name="T73" fmla="*/ 361 h 701"/>
                <a:gd name="T74" fmla="*/ 263 w 647"/>
                <a:gd name="T75" fmla="*/ 356 h 701"/>
                <a:gd name="T76" fmla="*/ 236 w 647"/>
                <a:gd name="T77" fmla="*/ 352 h 701"/>
                <a:gd name="T78" fmla="*/ 299 w 647"/>
                <a:gd name="T79" fmla="*/ 337 h 701"/>
                <a:gd name="T80" fmla="*/ 445 w 647"/>
                <a:gd name="T81" fmla="*/ 236 h 701"/>
                <a:gd name="T82" fmla="*/ 412 w 647"/>
                <a:gd name="T83" fmla="*/ 231 h 701"/>
                <a:gd name="T84" fmla="*/ 494 w 647"/>
                <a:gd name="T85" fmla="*/ 221 h 701"/>
                <a:gd name="T86" fmla="*/ 431 w 647"/>
                <a:gd name="T87" fmla="*/ 430 h 701"/>
                <a:gd name="T88" fmla="*/ 572 w 647"/>
                <a:gd name="T89" fmla="*/ 254 h 701"/>
                <a:gd name="T90" fmla="*/ 420 w 647"/>
                <a:gd name="T91" fmla="*/ 452 h 701"/>
                <a:gd name="T92" fmla="*/ 407 w 647"/>
                <a:gd name="T93" fmla="*/ 454 h 701"/>
                <a:gd name="T94" fmla="*/ 573 w 647"/>
                <a:gd name="T95" fmla="*/ 247 h 701"/>
                <a:gd name="T96" fmla="*/ 437 w 647"/>
                <a:gd name="T97" fmla="*/ 534 h 701"/>
                <a:gd name="T98" fmla="*/ 365 w 647"/>
                <a:gd name="T99" fmla="*/ 643 h 701"/>
                <a:gd name="T100" fmla="*/ 331 w 647"/>
                <a:gd name="T101" fmla="*/ 672 h 701"/>
                <a:gd name="T102" fmla="*/ 528 w 647"/>
                <a:gd name="T103" fmla="*/ 594 h 701"/>
                <a:gd name="T104" fmla="*/ 432 w 647"/>
                <a:gd name="T105" fmla="*/ 558 h 701"/>
                <a:gd name="T106" fmla="*/ 586 w 647"/>
                <a:gd name="T107" fmla="*/ 443 h 701"/>
                <a:gd name="T108" fmla="*/ 416 w 647"/>
                <a:gd name="T109" fmla="*/ 463 h 701"/>
                <a:gd name="T110" fmla="*/ 514 w 647"/>
                <a:gd name="T111" fmla="*/ 262 h 701"/>
                <a:gd name="T112" fmla="*/ 339 w 647"/>
                <a:gd name="T113" fmla="*/ 230 h 701"/>
                <a:gd name="T114" fmla="*/ 392 w 647"/>
                <a:gd name="T115" fmla="*/ 534 h 701"/>
                <a:gd name="T116" fmla="*/ 541 w 647"/>
                <a:gd name="T117" fmla="*/ 399 h 701"/>
                <a:gd name="T118" fmla="*/ 567 w 647"/>
                <a:gd name="T119" fmla="*/ 404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  <a:moveTo>
                    <a:pt x="264" y="503"/>
                  </a:moveTo>
                  <a:lnTo>
                    <a:pt x="264" y="503"/>
                  </a:lnTo>
                  <a:cubicBezTo>
                    <a:pt x="264" y="504"/>
                    <a:pt x="264" y="504"/>
                    <a:pt x="264" y="504"/>
                  </a:cubicBezTo>
                  <a:cubicBezTo>
                    <a:pt x="266" y="507"/>
                    <a:pt x="268" y="510"/>
                    <a:pt x="270" y="513"/>
                  </a:cubicBezTo>
                  <a:cubicBezTo>
                    <a:pt x="281" y="504"/>
                    <a:pt x="292" y="495"/>
                    <a:pt x="301" y="486"/>
                  </a:cubicBezTo>
                  <a:cubicBezTo>
                    <a:pt x="297" y="483"/>
                    <a:pt x="292" y="481"/>
                    <a:pt x="288" y="479"/>
                  </a:cubicBezTo>
                  <a:cubicBezTo>
                    <a:pt x="281" y="486"/>
                    <a:pt x="275" y="490"/>
                    <a:pt x="262" y="490"/>
                  </a:cubicBezTo>
                  <a:cubicBezTo>
                    <a:pt x="260" y="490"/>
                    <a:pt x="259" y="488"/>
                    <a:pt x="260" y="486"/>
                  </a:cubicBezTo>
                  <a:cubicBezTo>
                    <a:pt x="262" y="479"/>
                    <a:pt x="260" y="461"/>
                    <a:pt x="260" y="452"/>
                  </a:cubicBezTo>
                  <a:cubicBezTo>
                    <a:pt x="259" y="450"/>
                    <a:pt x="258" y="448"/>
                    <a:pt x="257" y="446"/>
                  </a:cubicBezTo>
                  <a:cubicBezTo>
                    <a:pt x="253" y="447"/>
                    <a:pt x="249" y="447"/>
                    <a:pt x="243" y="447"/>
                  </a:cubicBezTo>
                  <a:cubicBezTo>
                    <a:pt x="240" y="447"/>
                    <a:pt x="239" y="444"/>
                    <a:pt x="241" y="442"/>
                  </a:cubicBezTo>
                  <a:cubicBezTo>
                    <a:pt x="250" y="434"/>
                    <a:pt x="249" y="423"/>
                    <a:pt x="250" y="408"/>
                  </a:cubicBezTo>
                  <a:cubicBezTo>
                    <a:pt x="245" y="411"/>
                    <a:pt x="237" y="417"/>
                    <a:pt x="233" y="419"/>
                  </a:cubicBezTo>
                  <a:cubicBezTo>
                    <a:pt x="237" y="458"/>
                    <a:pt x="250" y="483"/>
                    <a:pt x="264" y="503"/>
                  </a:cubicBezTo>
                  <a:lnTo>
                    <a:pt x="264" y="503"/>
                  </a:lnTo>
                  <a:close/>
                  <a:moveTo>
                    <a:pt x="291" y="540"/>
                  </a:moveTo>
                  <a:lnTo>
                    <a:pt x="291" y="540"/>
                  </a:lnTo>
                  <a:cubicBezTo>
                    <a:pt x="406" y="463"/>
                    <a:pt x="451" y="323"/>
                    <a:pt x="554" y="235"/>
                  </a:cubicBezTo>
                  <a:lnTo>
                    <a:pt x="539" y="232"/>
                  </a:lnTo>
                  <a:cubicBezTo>
                    <a:pt x="536" y="231"/>
                    <a:pt x="536" y="231"/>
                    <a:pt x="536" y="228"/>
                  </a:cubicBezTo>
                  <a:lnTo>
                    <a:pt x="539" y="207"/>
                  </a:lnTo>
                  <a:cubicBezTo>
                    <a:pt x="444" y="303"/>
                    <a:pt x="391" y="462"/>
                    <a:pt x="283" y="530"/>
                  </a:cubicBezTo>
                  <a:cubicBezTo>
                    <a:pt x="286" y="533"/>
                    <a:pt x="288" y="536"/>
                    <a:pt x="291" y="540"/>
                  </a:cubicBezTo>
                  <a:lnTo>
                    <a:pt x="291" y="540"/>
                  </a:lnTo>
                  <a:close/>
                  <a:moveTo>
                    <a:pt x="558" y="188"/>
                  </a:moveTo>
                  <a:lnTo>
                    <a:pt x="558" y="188"/>
                  </a:lnTo>
                  <a:cubicBezTo>
                    <a:pt x="554" y="192"/>
                    <a:pt x="549" y="196"/>
                    <a:pt x="545" y="200"/>
                  </a:cubicBezTo>
                  <a:lnTo>
                    <a:pt x="542" y="227"/>
                  </a:lnTo>
                  <a:lnTo>
                    <a:pt x="560" y="230"/>
                  </a:lnTo>
                  <a:cubicBezTo>
                    <a:pt x="563" y="228"/>
                    <a:pt x="566" y="225"/>
                    <a:pt x="570" y="222"/>
                  </a:cubicBezTo>
                  <a:lnTo>
                    <a:pt x="567" y="216"/>
                  </a:lnTo>
                  <a:cubicBezTo>
                    <a:pt x="562" y="217"/>
                    <a:pt x="557" y="215"/>
                    <a:pt x="555" y="210"/>
                  </a:cubicBezTo>
                  <a:cubicBezTo>
                    <a:pt x="553" y="204"/>
                    <a:pt x="556" y="199"/>
                    <a:pt x="561" y="197"/>
                  </a:cubicBezTo>
                  <a:lnTo>
                    <a:pt x="558" y="188"/>
                  </a:lnTo>
                  <a:lnTo>
                    <a:pt x="558" y="188"/>
                  </a:lnTo>
                  <a:close/>
                  <a:moveTo>
                    <a:pt x="308" y="487"/>
                  </a:moveTo>
                  <a:lnTo>
                    <a:pt x="308" y="487"/>
                  </a:lnTo>
                  <a:cubicBezTo>
                    <a:pt x="297" y="498"/>
                    <a:pt x="286" y="508"/>
                    <a:pt x="274" y="517"/>
                  </a:cubicBezTo>
                  <a:lnTo>
                    <a:pt x="274" y="518"/>
                  </a:lnTo>
                  <a:cubicBezTo>
                    <a:pt x="276" y="521"/>
                    <a:pt x="278" y="523"/>
                    <a:pt x="280" y="525"/>
                  </a:cubicBezTo>
                  <a:cubicBezTo>
                    <a:pt x="336" y="490"/>
                    <a:pt x="378" y="429"/>
                    <a:pt x="419" y="364"/>
                  </a:cubicBezTo>
                  <a:cubicBezTo>
                    <a:pt x="454" y="308"/>
                    <a:pt x="492" y="245"/>
                    <a:pt x="540" y="197"/>
                  </a:cubicBezTo>
                  <a:cubicBezTo>
                    <a:pt x="540" y="197"/>
                    <a:pt x="541" y="197"/>
                    <a:pt x="541" y="196"/>
                  </a:cubicBezTo>
                  <a:cubicBezTo>
                    <a:pt x="546" y="192"/>
                    <a:pt x="551" y="187"/>
                    <a:pt x="556" y="183"/>
                  </a:cubicBezTo>
                  <a:lnTo>
                    <a:pt x="552" y="170"/>
                  </a:lnTo>
                  <a:cubicBezTo>
                    <a:pt x="533" y="185"/>
                    <a:pt x="516" y="203"/>
                    <a:pt x="500" y="222"/>
                  </a:cubicBezTo>
                  <a:cubicBezTo>
                    <a:pt x="500" y="222"/>
                    <a:pt x="500" y="223"/>
                    <a:pt x="500" y="223"/>
                  </a:cubicBezTo>
                  <a:cubicBezTo>
                    <a:pt x="469" y="260"/>
                    <a:pt x="443" y="302"/>
                    <a:pt x="418" y="341"/>
                  </a:cubicBezTo>
                  <a:cubicBezTo>
                    <a:pt x="405" y="361"/>
                    <a:pt x="392" y="382"/>
                    <a:pt x="378" y="402"/>
                  </a:cubicBezTo>
                  <a:cubicBezTo>
                    <a:pt x="378" y="402"/>
                    <a:pt x="378" y="402"/>
                    <a:pt x="378" y="402"/>
                  </a:cubicBezTo>
                  <a:cubicBezTo>
                    <a:pt x="372" y="411"/>
                    <a:pt x="366" y="419"/>
                    <a:pt x="360" y="426"/>
                  </a:cubicBezTo>
                  <a:cubicBezTo>
                    <a:pt x="360" y="427"/>
                    <a:pt x="360" y="427"/>
                    <a:pt x="360" y="427"/>
                  </a:cubicBezTo>
                  <a:cubicBezTo>
                    <a:pt x="355" y="433"/>
                    <a:pt x="351" y="439"/>
                    <a:pt x="347" y="444"/>
                  </a:cubicBezTo>
                  <a:cubicBezTo>
                    <a:pt x="346" y="444"/>
                    <a:pt x="346" y="445"/>
                    <a:pt x="346" y="445"/>
                  </a:cubicBezTo>
                  <a:cubicBezTo>
                    <a:pt x="340" y="453"/>
                    <a:pt x="333" y="461"/>
                    <a:pt x="326" y="468"/>
                  </a:cubicBezTo>
                  <a:cubicBezTo>
                    <a:pt x="326" y="469"/>
                    <a:pt x="326" y="469"/>
                    <a:pt x="325" y="469"/>
                  </a:cubicBezTo>
                  <a:cubicBezTo>
                    <a:pt x="320" y="475"/>
                    <a:pt x="314" y="481"/>
                    <a:pt x="308" y="487"/>
                  </a:cubicBezTo>
                  <a:lnTo>
                    <a:pt x="308" y="487"/>
                  </a:lnTo>
                  <a:lnTo>
                    <a:pt x="308" y="487"/>
                  </a:lnTo>
                  <a:close/>
                  <a:moveTo>
                    <a:pt x="306" y="482"/>
                  </a:moveTo>
                  <a:lnTo>
                    <a:pt x="306" y="482"/>
                  </a:lnTo>
                  <a:cubicBezTo>
                    <a:pt x="310" y="477"/>
                    <a:pt x="314" y="473"/>
                    <a:pt x="318" y="469"/>
                  </a:cubicBezTo>
                  <a:cubicBezTo>
                    <a:pt x="292" y="465"/>
                    <a:pt x="277" y="452"/>
                    <a:pt x="272" y="437"/>
                  </a:cubicBezTo>
                  <a:cubicBezTo>
                    <a:pt x="268" y="440"/>
                    <a:pt x="265" y="443"/>
                    <a:pt x="262" y="444"/>
                  </a:cubicBezTo>
                  <a:cubicBezTo>
                    <a:pt x="263" y="446"/>
                    <a:pt x="264" y="447"/>
                    <a:pt x="264" y="449"/>
                  </a:cubicBezTo>
                  <a:cubicBezTo>
                    <a:pt x="265" y="449"/>
                    <a:pt x="265" y="449"/>
                    <a:pt x="265" y="450"/>
                  </a:cubicBezTo>
                  <a:cubicBezTo>
                    <a:pt x="276" y="467"/>
                    <a:pt x="288" y="472"/>
                    <a:pt x="306" y="482"/>
                  </a:cubicBezTo>
                  <a:lnTo>
                    <a:pt x="306" y="482"/>
                  </a:lnTo>
                  <a:close/>
                  <a:moveTo>
                    <a:pt x="323" y="464"/>
                  </a:moveTo>
                  <a:lnTo>
                    <a:pt x="323" y="464"/>
                  </a:lnTo>
                  <a:cubicBezTo>
                    <a:pt x="327" y="459"/>
                    <a:pt x="331" y="454"/>
                    <a:pt x="335" y="449"/>
                  </a:cubicBezTo>
                  <a:cubicBezTo>
                    <a:pt x="287" y="463"/>
                    <a:pt x="257" y="387"/>
                    <a:pt x="339" y="356"/>
                  </a:cubicBezTo>
                  <a:cubicBezTo>
                    <a:pt x="333" y="354"/>
                    <a:pt x="327" y="352"/>
                    <a:pt x="321" y="349"/>
                  </a:cubicBezTo>
                  <a:cubicBezTo>
                    <a:pt x="268" y="373"/>
                    <a:pt x="250" y="454"/>
                    <a:pt x="323" y="464"/>
                  </a:cubicBezTo>
                  <a:lnTo>
                    <a:pt x="323" y="464"/>
                  </a:lnTo>
                  <a:close/>
                  <a:moveTo>
                    <a:pt x="343" y="440"/>
                  </a:moveTo>
                  <a:lnTo>
                    <a:pt x="343" y="440"/>
                  </a:lnTo>
                  <a:cubicBezTo>
                    <a:pt x="347" y="435"/>
                    <a:pt x="351" y="430"/>
                    <a:pt x="355" y="424"/>
                  </a:cubicBezTo>
                  <a:cubicBezTo>
                    <a:pt x="357" y="410"/>
                    <a:pt x="353" y="394"/>
                    <a:pt x="336" y="386"/>
                  </a:cubicBezTo>
                  <a:cubicBezTo>
                    <a:pt x="331" y="389"/>
                    <a:pt x="326" y="392"/>
                    <a:pt x="322" y="396"/>
                  </a:cubicBezTo>
                  <a:cubicBezTo>
                    <a:pt x="348" y="400"/>
                    <a:pt x="348" y="433"/>
                    <a:pt x="324" y="433"/>
                  </a:cubicBezTo>
                  <a:cubicBezTo>
                    <a:pt x="305" y="433"/>
                    <a:pt x="306" y="409"/>
                    <a:pt x="314" y="397"/>
                  </a:cubicBezTo>
                  <a:cubicBezTo>
                    <a:pt x="314" y="397"/>
                    <a:pt x="315" y="396"/>
                    <a:pt x="315" y="396"/>
                  </a:cubicBezTo>
                  <a:lnTo>
                    <a:pt x="315" y="396"/>
                  </a:lnTo>
                  <a:cubicBezTo>
                    <a:pt x="319" y="391"/>
                    <a:pt x="325" y="386"/>
                    <a:pt x="334" y="381"/>
                  </a:cubicBezTo>
                  <a:cubicBezTo>
                    <a:pt x="334" y="381"/>
                    <a:pt x="334" y="381"/>
                    <a:pt x="335" y="381"/>
                  </a:cubicBezTo>
                  <a:cubicBezTo>
                    <a:pt x="341" y="378"/>
                    <a:pt x="349" y="375"/>
                    <a:pt x="358" y="373"/>
                  </a:cubicBezTo>
                  <a:cubicBezTo>
                    <a:pt x="358" y="372"/>
                    <a:pt x="359" y="372"/>
                    <a:pt x="359" y="372"/>
                  </a:cubicBezTo>
                  <a:cubicBezTo>
                    <a:pt x="364" y="371"/>
                    <a:pt x="370" y="370"/>
                    <a:pt x="377" y="369"/>
                  </a:cubicBezTo>
                  <a:cubicBezTo>
                    <a:pt x="372" y="367"/>
                    <a:pt x="366" y="365"/>
                    <a:pt x="360" y="363"/>
                  </a:cubicBezTo>
                  <a:cubicBezTo>
                    <a:pt x="356" y="362"/>
                    <a:pt x="352" y="360"/>
                    <a:pt x="348" y="359"/>
                  </a:cubicBezTo>
                  <a:cubicBezTo>
                    <a:pt x="259" y="388"/>
                    <a:pt x="295" y="466"/>
                    <a:pt x="343" y="440"/>
                  </a:cubicBezTo>
                  <a:lnTo>
                    <a:pt x="343" y="440"/>
                  </a:lnTo>
                  <a:close/>
                  <a:moveTo>
                    <a:pt x="361" y="416"/>
                  </a:moveTo>
                  <a:lnTo>
                    <a:pt x="361" y="416"/>
                  </a:lnTo>
                  <a:cubicBezTo>
                    <a:pt x="365" y="411"/>
                    <a:pt x="369" y="405"/>
                    <a:pt x="373" y="400"/>
                  </a:cubicBezTo>
                  <a:cubicBezTo>
                    <a:pt x="372" y="395"/>
                    <a:pt x="366" y="385"/>
                    <a:pt x="358" y="378"/>
                  </a:cubicBezTo>
                  <a:cubicBezTo>
                    <a:pt x="353" y="380"/>
                    <a:pt x="347" y="381"/>
                    <a:pt x="342" y="384"/>
                  </a:cubicBezTo>
                  <a:cubicBezTo>
                    <a:pt x="356" y="391"/>
                    <a:pt x="361" y="404"/>
                    <a:pt x="361" y="416"/>
                  </a:cubicBezTo>
                  <a:lnTo>
                    <a:pt x="361" y="416"/>
                  </a:lnTo>
                  <a:close/>
                  <a:moveTo>
                    <a:pt x="377" y="394"/>
                  </a:moveTo>
                  <a:lnTo>
                    <a:pt x="377" y="394"/>
                  </a:lnTo>
                  <a:cubicBezTo>
                    <a:pt x="381" y="388"/>
                    <a:pt x="385" y="382"/>
                    <a:pt x="389" y="376"/>
                  </a:cubicBezTo>
                  <a:cubicBezTo>
                    <a:pt x="388" y="375"/>
                    <a:pt x="387" y="375"/>
                    <a:pt x="386" y="374"/>
                  </a:cubicBezTo>
                  <a:cubicBezTo>
                    <a:pt x="380" y="375"/>
                    <a:pt x="373" y="375"/>
                    <a:pt x="365" y="377"/>
                  </a:cubicBezTo>
                  <a:cubicBezTo>
                    <a:pt x="370" y="382"/>
                    <a:pt x="374" y="389"/>
                    <a:pt x="377" y="394"/>
                  </a:cubicBezTo>
                  <a:lnTo>
                    <a:pt x="377" y="394"/>
                  </a:lnTo>
                  <a:close/>
                  <a:moveTo>
                    <a:pt x="392" y="372"/>
                  </a:moveTo>
                  <a:lnTo>
                    <a:pt x="392" y="372"/>
                  </a:lnTo>
                  <a:cubicBezTo>
                    <a:pt x="396" y="365"/>
                    <a:pt x="400" y="359"/>
                    <a:pt x="404" y="353"/>
                  </a:cubicBezTo>
                  <a:cubicBezTo>
                    <a:pt x="389" y="349"/>
                    <a:pt x="360" y="351"/>
                    <a:pt x="343" y="351"/>
                  </a:cubicBezTo>
                  <a:cubicBezTo>
                    <a:pt x="349" y="354"/>
                    <a:pt x="355" y="356"/>
                    <a:pt x="362" y="358"/>
                  </a:cubicBezTo>
                  <a:cubicBezTo>
                    <a:pt x="371" y="361"/>
                    <a:pt x="380" y="364"/>
                    <a:pt x="387" y="369"/>
                  </a:cubicBezTo>
                  <a:cubicBezTo>
                    <a:pt x="388" y="369"/>
                    <a:pt x="388" y="369"/>
                    <a:pt x="388" y="369"/>
                  </a:cubicBezTo>
                  <a:cubicBezTo>
                    <a:pt x="389" y="370"/>
                    <a:pt x="391" y="371"/>
                    <a:pt x="392" y="372"/>
                  </a:cubicBezTo>
                  <a:lnTo>
                    <a:pt x="392" y="372"/>
                  </a:lnTo>
                  <a:close/>
                  <a:moveTo>
                    <a:pt x="407" y="348"/>
                  </a:moveTo>
                  <a:lnTo>
                    <a:pt x="407" y="348"/>
                  </a:lnTo>
                  <a:cubicBezTo>
                    <a:pt x="410" y="343"/>
                    <a:pt x="413" y="339"/>
                    <a:pt x="416" y="334"/>
                  </a:cubicBezTo>
                  <a:cubicBezTo>
                    <a:pt x="399" y="329"/>
                    <a:pt x="371" y="330"/>
                    <a:pt x="354" y="330"/>
                  </a:cubicBezTo>
                  <a:cubicBezTo>
                    <a:pt x="333" y="331"/>
                    <a:pt x="312" y="331"/>
                    <a:pt x="295" y="327"/>
                  </a:cubicBezTo>
                  <a:cubicBezTo>
                    <a:pt x="304" y="335"/>
                    <a:pt x="315" y="340"/>
                    <a:pt x="327" y="345"/>
                  </a:cubicBezTo>
                  <a:cubicBezTo>
                    <a:pt x="335" y="347"/>
                    <a:pt x="356" y="345"/>
                    <a:pt x="363" y="345"/>
                  </a:cubicBezTo>
                  <a:cubicBezTo>
                    <a:pt x="379" y="345"/>
                    <a:pt x="396" y="345"/>
                    <a:pt x="407" y="348"/>
                  </a:cubicBezTo>
                  <a:lnTo>
                    <a:pt x="407" y="348"/>
                  </a:lnTo>
                  <a:close/>
                  <a:moveTo>
                    <a:pt x="419" y="329"/>
                  </a:moveTo>
                  <a:lnTo>
                    <a:pt x="419" y="329"/>
                  </a:lnTo>
                  <a:cubicBezTo>
                    <a:pt x="421" y="325"/>
                    <a:pt x="424" y="322"/>
                    <a:pt x="426" y="318"/>
                  </a:cubicBezTo>
                  <a:cubicBezTo>
                    <a:pt x="404" y="309"/>
                    <a:pt x="369" y="312"/>
                    <a:pt x="346" y="312"/>
                  </a:cubicBezTo>
                  <a:cubicBezTo>
                    <a:pt x="320" y="312"/>
                    <a:pt x="293" y="311"/>
                    <a:pt x="276" y="296"/>
                  </a:cubicBezTo>
                  <a:cubicBezTo>
                    <a:pt x="279" y="305"/>
                    <a:pt x="283" y="312"/>
                    <a:pt x="287" y="318"/>
                  </a:cubicBezTo>
                  <a:cubicBezTo>
                    <a:pt x="313" y="329"/>
                    <a:pt x="361" y="323"/>
                    <a:pt x="391" y="325"/>
                  </a:cubicBezTo>
                  <a:cubicBezTo>
                    <a:pt x="401" y="325"/>
                    <a:pt x="411" y="326"/>
                    <a:pt x="419" y="329"/>
                  </a:cubicBezTo>
                  <a:lnTo>
                    <a:pt x="419" y="329"/>
                  </a:lnTo>
                  <a:close/>
                  <a:moveTo>
                    <a:pt x="429" y="313"/>
                  </a:moveTo>
                  <a:lnTo>
                    <a:pt x="429" y="313"/>
                  </a:lnTo>
                  <a:cubicBezTo>
                    <a:pt x="432" y="309"/>
                    <a:pt x="434" y="305"/>
                    <a:pt x="437" y="301"/>
                  </a:cubicBezTo>
                  <a:cubicBezTo>
                    <a:pt x="428" y="298"/>
                    <a:pt x="420" y="296"/>
                    <a:pt x="411" y="295"/>
                  </a:cubicBezTo>
                  <a:cubicBezTo>
                    <a:pt x="411" y="295"/>
                    <a:pt x="411" y="295"/>
                    <a:pt x="410" y="295"/>
                  </a:cubicBezTo>
                  <a:cubicBezTo>
                    <a:pt x="388" y="291"/>
                    <a:pt x="366" y="292"/>
                    <a:pt x="343" y="293"/>
                  </a:cubicBezTo>
                  <a:cubicBezTo>
                    <a:pt x="328" y="293"/>
                    <a:pt x="314" y="292"/>
                    <a:pt x="302" y="288"/>
                  </a:cubicBezTo>
                  <a:cubicBezTo>
                    <a:pt x="301" y="288"/>
                    <a:pt x="301" y="288"/>
                    <a:pt x="301" y="288"/>
                  </a:cubicBezTo>
                  <a:cubicBezTo>
                    <a:pt x="291" y="285"/>
                    <a:pt x="282" y="279"/>
                    <a:pt x="275" y="269"/>
                  </a:cubicBezTo>
                  <a:cubicBezTo>
                    <a:pt x="274" y="270"/>
                    <a:pt x="273" y="271"/>
                    <a:pt x="272" y="272"/>
                  </a:cubicBezTo>
                  <a:cubicBezTo>
                    <a:pt x="273" y="277"/>
                    <a:pt x="273" y="281"/>
                    <a:pt x="274" y="285"/>
                  </a:cubicBezTo>
                  <a:cubicBezTo>
                    <a:pt x="288" y="304"/>
                    <a:pt x="316" y="307"/>
                    <a:pt x="346" y="307"/>
                  </a:cubicBezTo>
                  <a:cubicBezTo>
                    <a:pt x="371" y="307"/>
                    <a:pt x="406" y="303"/>
                    <a:pt x="429" y="313"/>
                  </a:cubicBezTo>
                  <a:lnTo>
                    <a:pt x="429" y="313"/>
                  </a:lnTo>
                  <a:close/>
                  <a:moveTo>
                    <a:pt x="498" y="216"/>
                  </a:moveTo>
                  <a:lnTo>
                    <a:pt x="498" y="216"/>
                  </a:lnTo>
                  <a:cubicBezTo>
                    <a:pt x="500" y="213"/>
                    <a:pt x="503" y="210"/>
                    <a:pt x="506" y="207"/>
                  </a:cubicBezTo>
                  <a:cubicBezTo>
                    <a:pt x="491" y="202"/>
                    <a:pt x="477" y="199"/>
                    <a:pt x="463" y="196"/>
                  </a:cubicBezTo>
                  <a:cubicBezTo>
                    <a:pt x="463" y="196"/>
                    <a:pt x="462" y="196"/>
                    <a:pt x="462" y="196"/>
                  </a:cubicBezTo>
                  <a:cubicBezTo>
                    <a:pt x="456" y="195"/>
                    <a:pt x="449" y="195"/>
                    <a:pt x="443" y="194"/>
                  </a:cubicBezTo>
                  <a:cubicBezTo>
                    <a:pt x="445" y="198"/>
                    <a:pt x="447" y="203"/>
                    <a:pt x="447" y="209"/>
                  </a:cubicBezTo>
                  <a:cubicBezTo>
                    <a:pt x="450" y="212"/>
                    <a:pt x="452" y="216"/>
                    <a:pt x="452" y="220"/>
                  </a:cubicBezTo>
                  <a:cubicBezTo>
                    <a:pt x="456" y="218"/>
                    <a:pt x="462" y="217"/>
                    <a:pt x="468" y="219"/>
                  </a:cubicBezTo>
                  <a:cubicBezTo>
                    <a:pt x="473" y="208"/>
                    <a:pt x="488" y="206"/>
                    <a:pt x="498" y="216"/>
                  </a:cubicBezTo>
                  <a:lnTo>
                    <a:pt x="498" y="216"/>
                  </a:lnTo>
                  <a:close/>
                  <a:moveTo>
                    <a:pt x="187" y="551"/>
                  </a:moveTo>
                  <a:lnTo>
                    <a:pt x="187" y="551"/>
                  </a:lnTo>
                  <a:lnTo>
                    <a:pt x="238" y="513"/>
                  </a:lnTo>
                  <a:cubicBezTo>
                    <a:pt x="236" y="508"/>
                    <a:pt x="233" y="504"/>
                    <a:pt x="231" y="499"/>
                  </a:cubicBezTo>
                  <a:lnTo>
                    <a:pt x="188" y="526"/>
                  </a:lnTo>
                  <a:cubicBezTo>
                    <a:pt x="185" y="528"/>
                    <a:pt x="182" y="523"/>
                    <a:pt x="185" y="521"/>
                  </a:cubicBezTo>
                  <a:lnTo>
                    <a:pt x="229" y="494"/>
                  </a:lnTo>
                  <a:cubicBezTo>
                    <a:pt x="227" y="491"/>
                    <a:pt x="225" y="487"/>
                    <a:pt x="224" y="483"/>
                  </a:cubicBezTo>
                  <a:lnTo>
                    <a:pt x="165" y="511"/>
                  </a:lnTo>
                  <a:cubicBezTo>
                    <a:pt x="171" y="524"/>
                    <a:pt x="178" y="538"/>
                    <a:pt x="187" y="551"/>
                  </a:cubicBezTo>
                  <a:lnTo>
                    <a:pt x="187" y="551"/>
                  </a:lnTo>
                  <a:close/>
                  <a:moveTo>
                    <a:pt x="241" y="518"/>
                  </a:moveTo>
                  <a:lnTo>
                    <a:pt x="241" y="518"/>
                  </a:lnTo>
                  <a:lnTo>
                    <a:pt x="190" y="556"/>
                  </a:lnTo>
                  <a:cubicBezTo>
                    <a:pt x="198" y="569"/>
                    <a:pt x="208" y="581"/>
                    <a:pt x="219" y="593"/>
                  </a:cubicBezTo>
                  <a:lnTo>
                    <a:pt x="259" y="545"/>
                  </a:lnTo>
                  <a:cubicBezTo>
                    <a:pt x="256" y="542"/>
                    <a:pt x="254" y="538"/>
                    <a:pt x="251" y="534"/>
                  </a:cubicBezTo>
                  <a:lnTo>
                    <a:pt x="213" y="572"/>
                  </a:lnTo>
                  <a:cubicBezTo>
                    <a:pt x="210" y="575"/>
                    <a:pt x="207" y="571"/>
                    <a:pt x="209" y="568"/>
                  </a:cubicBezTo>
                  <a:lnTo>
                    <a:pt x="248" y="530"/>
                  </a:lnTo>
                  <a:cubicBezTo>
                    <a:pt x="246" y="526"/>
                    <a:pt x="243" y="522"/>
                    <a:pt x="241" y="518"/>
                  </a:cubicBezTo>
                  <a:lnTo>
                    <a:pt x="241" y="518"/>
                  </a:lnTo>
                  <a:close/>
                  <a:moveTo>
                    <a:pt x="163" y="505"/>
                  </a:moveTo>
                  <a:lnTo>
                    <a:pt x="163" y="505"/>
                  </a:lnTo>
                  <a:lnTo>
                    <a:pt x="222" y="478"/>
                  </a:lnTo>
                  <a:cubicBezTo>
                    <a:pt x="220" y="474"/>
                    <a:pt x="219" y="470"/>
                    <a:pt x="218" y="466"/>
                  </a:cubicBezTo>
                  <a:lnTo>
                    <a:pt x="169" y="481"/>
                  </a:lnTo>
                  <a:cubicBezTo>
                    <a:pt x="166" y="482"/>
                    <a:pt x="164" y="476"/>
                    <a:pt x="168" y="475"/>
                  </a:cubicBezTo>
                  <a:lnTo>
                    <a:pt x="216" y="461"/>
                  </a:lnTo>
                  <a:cubicBezTo>
                    <a:pt x="214" y="456"/>
                    <a:pt x="213" y="451"/>
                    <a:pt x="212" y="445"/>
                  </a:cubicBezTo>
                  <a:lnTo>
                    <a:pt x="147" y="459"/>
                  </a:lnTo>
                  <a:cubicBezTo>
                    <a:pt x="151" y="475"/>
                    <a:pt x="156" y="490"/>
                    <a:pt x="163" y="505"/>
                  </a:cubicBezTo>
                  <a:lnTo>
                    <a:pt x="163" y="505"/>
                  </a:lnTo>
                  <a:close/>
                  <a:moveTo>
                    <a:pt x="146" y="454"/>
                  </a:moveTo>
                  <a:lnTo>
                    <a:pt x="146" y="454"/>
                  </a:lnTo>
                  <a:lnTo>
                    <a:pt x="210" y="440"/>
                  </a:lnTo>
                  <a:cubicBezTo>
                    <a:pt x="209" y="435"/>
                    <a:pt x="209" y="431"/>
                    <a:pt x="208" y="426"/>
                  </a:cubicBezTo>
                  <a:lnTo>
                    <a:pt x="157" y="431"/>
                  </a:lnTo>
                  <a:cubicBezTo>
                    <a:pt x="153" y="431"/>
                    <a:pt x="153" y="426"/>
                    <a:pt x="156" y="425"/>
                  </a:cubicBezTo>
                  <a:lnTo>
                    <a:pt x="207" y="421"/>
                  </a:lnTo>
                  <a:cubicBezTo>
                    <a:pt x="206" y="416"/>
                    <a:pt x="206" y="411"/>
                    <a:pt x="206" y="405"/>
                  </a:cubicBezTo>
                  <a:lnTo>
                    <a:pt x="140" y="404"/>
                  </a:lnTo>
                  <a:cubicBezTo>
                    <a:pt x="141" y="421"/>
                    <a:pt x="143" y="437"/>
                    <a:pt x="146" y="454"/>
                  </a:cubicBezTo>
                  <a:lnTo>
                    <a:pt x="146" y="454"/>
                  </a:lnTo>
                  <a:close/>
                  <a:moveTo>
                    <a:pt x="140" y="399"/>
                  </a:moveTo>
                  <a:lnTo>
                    <a:pt x="140" y="399"/>
                  </a:lnTo>
                  <a:lnTo>
                    <a:pt x="206" y="400"/>
                  </a:lnTo>
                  <a:cubicBezTo>
                    <a:pt x="205" y="395"/>
                    <a:pt x="205" y="391"/>
                    <a:pt x="206" y="387"/>
                  </a:cubicBezTo>
                  <a:lnTo>
                    <a:pt x="155" y="381"/>
                  </a:lnTo>
                  <a:cubicBezTo>
                    <a:pt x="151" y="381"/>
                    <a:pt x="152" y="375"/>
                    <a:pt x="156" y="375"/>
                  </a:cubicBezTo>
                  <a:lnTo>
                    <a:pt x="206" y="381"/>
                  </a:lnTo>
                  <a:cubicBezTo>
                    <a:pt x="206" y="375"/>
                    <a:pt x="207" y="370"/>
                    <a:pt x="207" y="364"/>
                  </a:cubicBezTo>
                  <a:lnTo>
                    <a:pt x="144" y="351"/>
                  </a:lnTo>
                  <a:cubicBezTo>
                    <a:pt x="141" y="367"/>
                    <a:pt x="140" y="383"/>
                    <a:pt x="140" y="399"/>
                  </a:cubicBezTo>
                  <a:lnTo>
                    <a:pt x="140" y="399"/>
                  </a:lnTo>
                  <a:close/>
                  <a:moveTo>
                    <a:pt x="144" y="346"/>
                  </a:moveTo>
                  <a:lnTo>
                    <a:pt x="144" y="346"/>
                  </a:lnTo>
                  <a:lnTo>
                    <a:pt x="208" y="359"/>
                  </a:lnTo>
                  <a:cubicBezTo>
                    <a:pt x="209" y="354"/>
                    <a:pt x="210" y="350"/>
                    <a:pt x="211" y="346"/>
                  </a:cubicBezTo>
                  <a:lnTo>
                    <a:pt x="162" y="330"/>
                  </a:lnTo>
                  <a:cubicBezTo>
                    <a:pt x="158" y="329"/>
                    <a:pt x="160" y="324"/>
                    <a:pt x="163" y="325"/>
                  </a:cubicBezTo>
                  <a:lnTo>
                    <a:pt x="212" y="340"/>
                  </a:lnTo>
                  <a:cubicBezTo>
                    <a:pt x="213" y="336"/>
                    <a:pt x="214" y="332"/>
                    <a:pt x="215" y="328"/>
                  </a:cubicBezTo>
                  <a:lnTo>
                    <a:pt x="157" y="299"/>
                  </a:lnTo>
                  <a:cubicBezTo>
                    <a:pt x="151" y="314"/>
                    <a:pt x="147" y="330"/>
                    <a:pt x="144" y="346"/>
                  </a:cubicBezTo>
                  <a:lnTo>
                    <a:pt x="144" y="346"/>
                  </a:lnTo>
                  <a:close/>
                  <a:moveTo>
                    <a:pt x="159" y="293"/>
                  </a:moveTo>
                  <a:lnTo>
                    <a:pt x="159" y="293"/>
                  </a:lnTo>
                  <a:lnTo>
                    <a:pt x="217" y="322"/>
                  </a:lnTo>
                  <a:cubicBezTo>
                    <a:pt x="219" y="318"/>
                    <a:pt x="220" y="314"/>
                    <a:pt x="222" y="310"/>
                  </a:cubicBezTo>
                  <a:lnTo>
                    <a:pt x="177" y="283"/>
                  </a:lnTo>
                  <a:cubicBezTo>
                    <a:pt x="174" y="281"/>
                    <a:pt x="177" y="276"/>
                    <a:pt x="180" y="278"/>
                  </a:cubicBezTo>
                  <a:lnTo>
                    <a:pt x="224" y="305"/>
                  </a:lnTo>
                  <a:cubicBezTo>
                    <a:pt x="226" y="300"/>
                    <a:pt x="228" y="296"/>
                    <a:pt x="230" y="292"/>
                  </a:cubicBezTo>
                  <a:lnTo>
                    <a:pt x="178" y="251"/>
                  </a:lnTo>
                  <a:cubicBezTo>
                    <a:pt x="170" y="265"/>
                    <a:pt x="164" y="279"/>
                    <a:pt x="159" y="293"/>
                  </a:cubicBezTo>
                  <a:lnTo>
                    <a:pt x="159" y="293"/>
                  </a:lnTo>
                  <a:close/>
                  <a:moveTo>
                    <a:pt x="180" y="246"/>
                  </a:moveTo>
                  <a:lnTo>
                    <a:pt x="180" y="246"/>
                  </a:lnTo>
                  <a:lnTo>
                    <a:pt x="233" y="287"/>
                  </a:lnTo>
                  <a:cubicBezTo>
                    <a:pt x="235" y="283"/>
                    <a:pt x="237" y="280"/>
                    <a:pt x="239" y="276"/>
                  </a:cubicBezTo>
                  <a:lnTo>
                    <a:pt x="200" y="239"/>
                  </a:lnTo>
                  <a:cubicBezTo>
                    <a:pt x="198" y="237"/>
                    <a:pt x="202" y="233"/>
                    <a:pt x="204" y="235"/>
                  </a:cubicBezTo>
                  <a:lnTo>
                    <a:pt x="242" y="271"/>
                  </a:lnTo>
                  <a:cubicBezTo>
                    <a:pt x="245" y="267"/>
                    <a:pt x="248" y="263"/>
                    <a:pt x="251" y="259"/>
                  </a:cubicBezTo>
                  <a:lnTo>
                    <a:pt x="207" y="208"/>
                  </a:lnTo>
                  <a:cubicBezTo>
                    <a:pt x="197" y="220"/>
                    <a:pt x="188" y="233"/>
                    <a:pt x="180" y="246"/>
                  </a:cubicBezTo>
                  <a:lnTo>
                    <a:pt x="180" y="246"/>
                  </a:lnTo>
                  <a:close/>
                  <a:moveTo>
                    <a:pt x="210" y="203"/>
                  </a:moveTo>
                  <a:lnTo>
                    <a:pt x="210" y="203"/>
                  </a:lnTo>
                  <a:lnTo>
                    <a:pt x="254" y="254"/>
                  </a:lnTo>
                  <a:cubicBezTo>
                    <a:pt x="257" y="251"/>
                    <a:pt x="260" y="247"/>
                    <a:pt x="263" y="244"/>
                  </a:cubicBezTo>
                  <a:lnTo>
                    <a:pt x="230" y="199"/>
                  </a:lnTo>
                  <a:cubicBezTo>
                    <a:pt x="228" y="196"/>
                    <a:pt x="233" y="193"/>
                    <a:pt x="235" y="196"/>
                  </a:cubicBezTo>
                  <a:lnTo>
                    <a:pt x="267" y="240"/>
                  </a:lnTo>
                  <a:cubicBezTo>
                    <a:pt x="270" y="236"/>
                    <a:pt x="273" y="233"/>
                    <a:pt x="277" y="230"/>
                  </a:cubicBezTo>
                  <a:lnTo>
                    <a:pt x="242" y="169"/>
                  </a:lnTo>
                  <a:cubicBezTo>
                    <a:pt x="231" y="180"/>
                    <a:pt x="220" y="191"/>
                    <a:pt x="210" y="203"/>
                  </a:cubicBezTo>
                  <a:lnTo>
                    <a:pt x="210" y="203"/>
                  </a:lnTo>
                  <a:close/>
                  <a:moveTo>
                    <a:pt x="246" y="166"/>
                  </a:moveTo>
                  <a:lnTo>
                    <a:pt x="246" y="166"/>
                  </a:lnTo>
                  <a:lnTo>
                    <a:pt x="281" y="226"/>
                  </a:lnTo>
                  <a:cubicBezTo>
                    <a:pt x="284" y="223"/>
                    <a:pt x="287" y="220"/>
                    <a:pt x="290" y="218"/>
                  </a:cubicBezTo>
                  <a:lnTo>
                    <a:pt x="267" y="165"/>
                  </a:lnTo>
                  <a:cubicBezTo>
                    <a:pt x="266" y="161"/>
                    <a:pt x="271" y="159"/>
                    <a:pt x="273" y="163"/>
                  </a:cubicBezTo>
                  <a:lnTo>
                    <a:pt x="295" y="214"/>
                  </a:lnTo>
                  <a:cubicBezTo>
                    <a:pt x="299" y="211"/>
                    <a:pt x="303" y="208"/>
                    <a:pt x="307" y="205"/>
                  </a:cubicBezTo>
                  <a:lnTo>
                    <a:pt x="284" y="137"/>
                  </a:lnTo>
                  <a:cubicBezTo>
                    <a:pt x="271" y="146"/>
                    <a:pt x="258" y="155"/>
                    <a:pt x="246" y="166"/>
                  </a:cubicBezTo>
                  <a:lnTo>
                    <a:pt x="246" y="166"/>
                  </a:lnTo>
                  <a:close/>
                  <a:moveTo>
                    <a:pt x="289" y="134"/>
                  </a:moveTo>
                  <a:lnTo>
                    <a:pt x="289" y="134"/>
                  </a:lnTo>
                  <a:lnTo>
                    <a:pt x="312" y="202"/>
                  </a:lnTo>
                  <a:cubicBezTo>
                    <a:pt x="316" y="200"/>
                    <a:pt x="319" y="198"/>
                    <a:pt x="323" y="196"/>
                  </a:cubicBezTo>
                  <a:lnTo>
                    <a:pt x="310" y="139"/>
                  </a:lnTo>
                  <a:cubicBezTo>
                    <a:pt x="309" y="135"/>
                    <a:pt x="314" y="134"/>
                    <a:pt x="315" y="137"/>
                  </a:cubicBezTo>
                  <a:lnTo>
                    <a:pt x="328" y="193"/>
                  </a:lnTo>
                  <a:cubicBezTo>
                    <a:pt x="332" y="191"/>
                    <a:pt x="336" y="189"/>
                    <a:pt x="340" y="187"/>
                  </a:cubicBezTo>
                  <a:lnTo>
                    <a:pt x="331" y="113"/>
                  </a:lnTo>
                  <a:cubicBezTo>
                    <a:pt x="316" y="119"/>
                    <a:pt x="302" y="126"/>
                    <a:pt x="289" y="134"/>
                  </a:cubicBezTo>
                  <a:lnTo>
                    <a:pt x="289" y="134"/>
                  </a:lnTo>
                  <a:close/>
                  <a:moveTo>
                    <a:pt x="336" y="111"/>
                  </a:moveTo>
                  <a:lnTo>
                    <a:pt x="336" y="111"/>
                  </a:lnTo>
                  <a:lnTo>
                    <a:pt x="346" y="185"/>
                  </a:lnTo>
                  <a:cubicBezTo>
                    <a:pt x="350" y="183"/>
                    <a:pt x="354" y="181"/>
                    <a:pt x="359" y="180"/>
                  </a:cubicBezTo>
                  <a:lnTo>
                    <a:pt x="357" y="118"/>
                  </a:lnTo>
                  <a:cubicBezTo>
                    <a:pt x="357" y="114"/>
                    <a:pt x="362" y="114"/>
                    <a:pt x="362" y="118"/>
                  </a:cubicBezTo>
                  <a:lnTo>
                    <a:pt x="364" y="178"/>
                  </a:lnTo>
                  <a:cubicBezTo>
                    <a:pt x="369" y="176"/>
                    <a:pt x="373" y="175"/>
                    <a:pt x="377" y="174"/>
                  </a:cubicBezTo>
                  <a:lnTo>
                    <a:pt x="383" y="97"/>
                  </a:lnTo>
                  <a:cubicBezTo>
                    <a:pt x="367" y="100"/>
                    <a:pt x="351" y="105"/>
                    <a:pt x="336" y="111"/>
                  </a:cubicBezTo>
                  <a:lnTo>
                    <a:pt x="336" y="111"/>
                  </a:lnTo>
                  <a:close/>
                  <a:moveTo>
                    <a:pt x="388" y="96"/>
                  </a:moveTo>
                  <a:lnTo>
                    <a:pt x="388" y="96"/>
                  </a:lnTo>
                  <a:lnTo>
                    <a:pt x="383" y="173"/>
                  </a:lnTo>
                  <a:cubicBezTo>
                    <a:pt x="388" y="172"/>
                    <a:pt x="393" y="171"/>
                    <a:pt x="398" y="170"/>
                  </a:cubicBezTo>
                  <a:lnTo>
                    <a:pt x="408" y="109"/>
                  </a:lnTo>
                  <a:cubicBezTo>
                    <a:pt x="408" y="106"/>
                    <a:pt x="414" y="107"/>
                    <a:pt x="413" y="110"/>
                  </a:cubicBezTo>
                  <a:lnTo>
                    <a:pt x="404" y="169"/>
                  </a:lnTo>
                  <a:cubicBezTo>
                    <a:pt x="408" y="169"/>
                    <a:pt x="412" y="169"/>
                    <a:pt x="416" y="168"/>
                  </a:cubicBezTo>
                  <a:lnTo>
                    <a:pt x="436" y="91"/>
                  </a:lnTo>
                  <a:cubicBezTo>
                    <a:pt x="420" y="92"/>
                    <a:pt x="404" y="93"/>
                    <a:pt x="388" y="96"/>
                  </a:cubicBezTo>
                  <a:lnTo>
                    <a:pt x="388" y="96"/>
                  </a:lnTo>
                  <a:close/>
                  <a:moveTo>
                    <a:pt x="442" y="91"/>
                  </a:moveTo>
                  <a:lnTo>
                    <a:pt x="442" y="91"/>
                  </a:lnTo>
                  <a:lnTo>
                    <a:pt x="422" y="168"/>
                  </a:lnTo>
                  <a:cubicBezTo>
                    <a:pt x="427" y="168"/>
                    <a:pt x="432" y="168"/>
                    <a:pt x="437" y="168"/>
                  </a:cubicBezTo>
                  <a:lnTo>
                    <a:pt x="456" y="108"/>
                  </a:lnTo>
                  <a:cubicBezTo>
                    <a:pt x="457" y="104"/>
                    <a:pt x="463" y="106"/>
                    <a:pt x="462" y="109"/>
                  </a:cubicBezTo>
                  <a:lnTo>
                    <a:pt x="443" y="169"/>
                  </a:lnTo>
                  <a:cubicBezTo>
                    <a:pt x="448" y="169"/>
                    <a:pt x="452" y="170"/>
                    <a:pt x="457" y="171"/>
                  </a:cubicBezTo>
                  <a:lnTo>
                    <a:pt x="489" y="95"/>
                  </a:lnTo>
                  <a:cubicBezTo>
                    <a:pt x="473" y="93"/>
                    <a:pt x="457" y="91"/>
                    <a:pt x="442" y="91"/>
                  </a:cubicBezTo>
                  <a:lnTo>
                    <a:pt x="442" y="91"/>
                  </a:lnTo>
                  <a:close/>
                  <a:moveTo>
                    <a:pt x="495" y="96"/>
                  </a:moveTo>
                  <a:lnTo>
                    <a:pt x="495" y="96"/>
                  </a:lnTo>
                  <a:lnTo>
                    <a:pt x="463" y="172"/>
                  </a:lnTo>
                  <a:cubicBezTo>
                    <a:pt x="467" y="172"/>
                    <a:pt x="471" y="173"/>
                    <a:pt x="475" y="174"/>
                  </a:cubicBezTo>
                  <a:lnTo>
                    <a:pt x="507" y="113"/>
                  </a:lnTo>
                  <a:cubicBezTo>
                    <a:pt x="509" y="110"/>
                    <a:pt x="514" y="112"/>
                    <a:pt x="512" y="116"/>
                  </a:cubicBezTo>
                  <a:lnTo>
                    <a:pt x="481" y="176"/>
                  </a:lnTo>
                  <a:cubicBezTo>
                    <a:pt x="486" y="177"/>
                    <a:pt x="492" y="179"/>
                    <a:pt x="497" y="181"/>
                  </a:cubicBezTo>
                  <a:lnTo>
                    <a:pt x="541" y="108"/>
                  </a:lnTo>
                  <a:cubicBezTo>
                    <a:pt x="526" y="103"/>
                    <a:pt x="510" y="99"/>
                    <a:pt x="495" y="96"/>
                  </a:cubicBezTo>
                  <a:lnTo>
                    <a:pt x="495" y="96"/>
                  </a:lnTo>
                  <a:close/>
                  <a:moveTo>
                    <a:pt x="393" y="265"/>
                  </a:moveTo>
                  <a:lnTo>
                    <a:pt x="393" y="265"/>
                  </a:lnTo>
                  <a:cubicBezTo>
                    <a:pt x="393" y="266"/>
                    <a:pt x="393" y="266"/>
                    <a:pt x="393" y="267"/>
                  </a:cubicBezTo>
                  <a:cubicBezTo>
                    <a:pt x="392" y="267"/>
                    <a:pt x="392" y="267"/>
                    <a:pt x="391" y="268"/>
                  </a:cubicBezTo>
                  <a:cubicBezTo>
                    <a:pt x="391" y="268"/>
                    <a:pt x="391" y="268"/>
                    <a:pt x="391" y="268"/>
                  </a:cubicBezTo>
                  <a:cubicBezTo>
                    <a:pt x="386" y="269"/>
                    <a:pt x="381" y="268"/>
                    <a:pt x="377" y="268"/>
                  </a:cubicBezTo>
                  <a:cubicBezTo>
                    <a:pt x="376" y="268"/>
                    <a:pt x="376" y="268"/>
                    <a:pt x="375" y="269"/>
                  </a:cubicBezTo>
                  <a:cubicBezTo>
                    <a:pt x="376" y="274"/>
                    <a:pt x="379" y="281"/>
                    <a:pt x="385" y="287"/>
                  </a:cubicBezTo>
                  <a:cubicBezTo>
                    <a:pt x="389" y="287"/>
                    <a:pt x="393" y="287"/>
                    <a:pt x="398" y="288"/>
                  </a:cubicBezTo>
                  <a:lnTo>
                    <a:pt x="410" y="236"/>
                  </a:lnTo>
                  <a:cubicBezTo>
                    <a:pt x="396" y="232"/>
                    <a:pt x="393" y="208"/>
                    <a:pt x="411" y="204"/>
                  </a:cubicBezTo>
                  <a:cubicBezTo>
                    <a:pt x="411" y="200"/>
                    <a:pt x="413" y="197"/>
                    <a:pt x="416" y="194"/>
                  </a:cubicBezTo>
                  <a:cubicBezTo>
                    <a:pt x="406" y="195"/>
                    <a:pt x="396" y="196"/>
                    <a:pt x="387" y="198"/>
                  </a:cubicBezTo>
                  <a:lnTo>
                    <a:pt x="390" y="227"/>
                  </a:lnTo>
                  <a:cubicBezTo>
                    <a:pt x="390" y="227"/>
                    <a:pt x="390" y="227"/>
                    <a:pt x="390" y="228"/>
                  </a:cubicBezTo>
                  <a:lnTo>
                    <a:pt x="390" y="231"/>
                  </a:lnTo>
                  <a:cubicBezTo>
                    <a:pt x="390" y="234"/>
                    <a:pt x="385" y="235"/>
                    <a:pt x="384" y="231"/>
                  </a:cubicBezTo>
                  <a:lnTo>
                    <a:pt x="384" y="229"/>
                  </a:lnTo>
                  <a:lnTo>
                    <a:pt x="373" y="221"/>
                  </a:lnTo>
                  <a:cubicBezTo>
                    <a:pt x="370" y="223"/>
                    <a:pt x="368" y="227"/>
                    <a:pt x="368" y="231"/>
                  </a:cubicBezTo>
                  <a:cubicBezTo>
                    <a:pt x="368" y="239"/>
                    <a:pt x="374" y="245"/>
                    <a:pt x="382" y="245"/>
                  </a:cubicBezTo>
                  <a:cubicBezTo>
                    <a:pt x="383" y="245"/>
                    <a:pt x="384" y="245"/>
                    <a:pt x="386" y="245"/>
                  </a:cubicBezTo>
                  <a:lnTo>
                    <a:pt x="386" y="244"/>
                  </a:lnTo>
                  <a:cubicBezTo>
                    <a:pt x="385" y="240"/>
                    <a:pt x="391" y="239"/>
                    <a:pt x="391" y="243"/>
                  </a:cubicBezTo>
                  <a:lnTo>
                    <a:pt x="391" y="246"/>
                  </a:lnTo>
                  <a:cubicBezTo>
                    <a:pt x="392" y="246"/>
                    <a:pt x="392" y="246"/>
                    <a:pt x="392" y="247"/>
                  </a:cubicBezTo>
                  <a:lnTo>
                    <a:pt x="393" y="265"/>
                  </a:lnTo>
                  <a:cubicBezTo>
                    <a:pt x="393" y="265"/>
                    <a:pt x="393" y="265"/>
                    <a:pt x="393" y="265"/>
                  </a:cubicBezTo>
                  <a:lnTo>
                    <a:pt x="393" y="265"/>
                  </a:lnTo>
                  <a:close/>
                  <a:moveTo>
                    <a:pt x="372" y="214"/>
                  </a:moveTo>
                  <a:lnTo>
                    <a:pt x="372" y="214"/>
                  </a:lnTo>
                  <a:lnTo>
                    <a:pt x="374" y="215"/>
                  </a:lnTo>
                  <a:cubicBezTo>
                    <a:pt x="374" y="215"/>
                    <a:pt x="374" y="215"/>
                    <a:pt x="375" y="215"/>
                  </a:cubicBezTo>
                  <a:lnTo>
                    <a:pt x="384" y="222"/>
                  </a:lnTo>
                  <a:lnTo>
                    <a:pt x="382" y="199"/>
                  </a:lnTo>
                  <a:cubicBezTo>
                    <a:pt x="374" y="201"/>
                    <a:pt x="367" y="203"/>
                    <a:pt x="360" y="206"/>
                  </a:cubicBezTo>
                  <a:cubicBezTo>
                    <a:pt x="346" y="221"/>
                    <a:pt x="347" y="238"/>
                    <a:pt x="356" y="250"/>
                  </a:cubicBezTo>
                  <a:cubicBezTo>
                    <a:pt x="357" y="250"/>
                    <a:pt x="357" y="250"/>
                    <a:pt x="357" y="250"/>
                  </a:cubicBezTo>
                  <a:cubicBezTo>
                    <a:pt x="364" y="259"/>
                    <a:pt x="376" y="264"/>
                    <a:pt x="387" y="263"/>
                  </a:cubicBezTo>
                  <a:lnTo>
                    <a:pt x="386" y="250"/>
                  </a:lnTo>
                  <a:cubicBezTo>
                    <a:pt x="385" y="251"/>
                    <a:pt x="383" y="251"/>
                    <a:pt x="382" y="251"/>
                  </a:cubicBezTo>
                  <a:cubicBezTo>
                    <a:pt x="371" y="251"/>
                    <a:pt x="362" y="242"/>
                    <a:pt x="362" y="231"/>
                  </a:cubicBezTo>
                  <a:cubicBezTo>
                    <a:pt x="362" y="226"/>
                    <a:pt x="365" y="221"/>
                    <a:pt x="368" y="217"/>
                  </a:cubicBezTo>
                  <a:cubicBezTo>
                    <a:pt x="367" y="215"/>
                    <a:pt x="370" y="212"/>
                    <a:pt x="372" y="214"/>
                  </a:cubicBezTo>
                  <a:lnTo>
                    <a:pt x="372" y="214"/>
                  </a:lnTo>
                  <a:close/>
                  <a:moveTo>
                    <a:pt x="370" y="266"/>
                  </a:moveTo>
                  <a:lnTo>
                    <a:pt x="370" y="266"/>
                  </a:lnTo>
                  <a:cubicBezTo>
                    <a:pt x="364" y="263"/>
                    <a:pt x="358" y="260"/>
                    <a:pt x="354" y="255"/>
                  </a:cubicBezTo>
                  <a:cubicBezTo>
                    <a:pt x="334" y="260"/>
                    <a:pt x="317" y="245"/>
                    <a:pt x="311" y="233"/>
                  </a:cubicBezTo>
                  <a:cubicBezTo>
                    <a:pt x="304" y="238"/>
                    <a:pt x="297" y="244"/>
                    <a:pt x="291" y="250"/>
                  </a:cubicBezTo>
                  <a:lnTo>
                    <a:pt x="303" y="253"/>
                  </a:lnTo>
                  <a:cubicBezTo>
                    <a:pt x="304" y="253"/>
                    <a:pt x="304" y="253"/>
                    <a:pt x="304" y="253"/>
                  </a:cubicBezTo>
                  <a:lnTo>
                    <a:pt x="307" y="254"/>
                  </a:lnTo>
                  <a:cubicBezTo>
                    <a:pt x="307" y="254"/>
                    <a:pt x="308" y="254"/>
                    <a:pt x="308" y="255"/>
                  </a:cubicBezTo>
                  <a:cubicBezTo>
                    <a:pt x="309" y="255"/>
                    <a:pt x="309" y="255"/>
                    <a:pt x="309" y="256"/>
                  </a:cubicBezTo>
                  <a:cubicBezTo>
                    <a:pt x="323" y="272"/>
                    <a:pt x="357" y="272"/>
                    <a:pt x="370" y="266"/>
                  </a:cubicBezTo>
                  <a:lnTo>
                    <a:pt x="370" y="266"/>
                  </a:lnTo>
                  <a:close/>
                  <a:moveTo>
                    <a:pt x="350" y="250"/>
                  </a:moveTo>
                  <a:lnTo>
                    <a:pt x="350" y="250"/>
                  </a:lnTo>
                  <a:cubicBezTo>
                    <a:pt x="342" y="239"/>
                    <a:pt x="341" y="225"/>
                    <a:pt x="350" y="210"/>
                  </a:cubicBezTo>
                  <a:cubicBezTo>
                    <a:pt x="338" y="215"/>
                    <a:pt x="326" y="222"/>
                    <a:pt x="315" y="230"/>
                  </a:cubicBezTo>
                  <a:cubicBezTo>
                    <a:pt x="320" y="240"/>
                    <a:pt x="334" y="252"/>
                    <a:pt x="350" y="250"/>
                  </a:cubicBezTo>
                  <a:lnTo>
                    <a:pt x="350" y="250"/>
                  </a:lnTo>
                  <a:close/>
                  <a:moveTo>
                    <a:pt x="305" y="260"/>
                  </a:moveTo>
                  <a:lnTo>
                    <a:pt x="305" y="260"/>
                  </a:lnTo>
                  <a:lnTo>
                    <a:pt x="305" y="259"/>
                  </a:lnTo>
                  <a:cubicBezTo>
                    <a:pt x="303" y="265"/>
                    <a:pt x="303" y="277"/>
                    <a:pt x="304" y="283"/>
                  </a:cubicBezTo>
                  <a:cubicBezTo>
                    <a:pt x="315" y="287"/>
                    <a:pt x="328" y="287"/>
                    <a:pt x="343" y="287"/>
                  </a:cubicBezTo>
                  <a:cubicBezTo>
                    <a:pt x="355" y="287"/>
                    <a:pt x="366" y="287"/>
                    <a:pt x="377" y="287"/>
                  </a:cubicBezTo>
                  <a:cubicBezTo>
                    <a:pt x="373" y="282"/>
                    <a:pt x="371" y="276"/>
                    <a:pt x="370" y="272"/>
                  </a:cubicBezTo>
                  <a:cubicBezTo>
                    <a:pt x="353" y="278"/>
                    <a:pt x="320" y="276"/>
                    <a:pt x="305" y="260"/>
                  </a:cubicBezTo>
                  <a:lnTo>
                    <a:pt x="305" y="260"/>
                  </a:lnTo>
                  <a:close/>
                  <a:moveTo>
                    <a:pt x="315" y="346"/>
                  </a:moveTo>
                  <a:lnTo>
                    <a:pt x="315" y="346"/>
                  </a:lnTo>
                  <a:cubicBezTo>
                    <a:pt x="311" y="345"/>
                    <a:pt x="308" y="343"/>
                    <a:pt x="304" y="341"/>
                  </a:cubicBezTo>
                  <a:cubicBezTo>
                    <a:pt x="300" y="344"/>
                    <a:pt x="296" y="346"/>
                    <a:pt x="293" y="349"/>
                  </a:cubicBezTo>
                  <a:cubicBezTo>
                    <a:pt x="293" y="349"/>
                    <a:pt x="292" y="350"/>
                    <a:pt x="292" y="350"/>
                  </a:cubicBezTo>
                  <a:cubicBezTo>
                    <a:pt x="285" y="356"/>
                    <a:pt x="279" y="362"/>
                    <a:pt x="274" y="367"/>
                  </a:cubicBezTo>
                  <a:cubicBezTo>
                    <a:pt x="274" y="367"/>
                    <a:pt x="274" y="368"/>
                    <a:pt x="274" y="368"/>
                  </a:cubicBezTo>
                  <a:cubicBezTo>
                    <a:pt x="272" y="370"/>
                    <a:pt x="270" y="373"/>
                    <a:pt x="268" y="375"/>
                  </a:cubicBezTo>
                  <a:cubicBezTo>
                    <a:pt x="268" y="376"/>
                    <a:pt x="268" y="376"/>
                    <a:pt x="268" y="376"/>
                  </a:cubicBezTo>
                  <a:cubicBezTo>
                    <a:pt x="261" y="386"/>
                    <a:pt x="258" y="395"/>
                    <a:pt x="257" y="403"/>
                  </a:cubicBezTo>
                  <a:cubicBezTo>
                    <a:pt x="255" y="415"/>
                    <a:pt x="256" y="431"/>
                    <a:pt x="249" y="441"/>
                  </a:cubicBezTo>
                  <a:cubicBezTo>
                    <a:pt x="260" y="440"/>
                    <a:pt x="263" y="437"/>
                    <a:pt x="270" y="431"/>
                  </a:cubicBezTo>
                  <a:cubicBezTo>
                    <a:pt x="263" y="401"/>
                    <a:pt x="285" y="362"/>
                    <a:pt x="315" y="346"/>
                  </a:cubicBezTo>
                  <a:lnTo>
                    <a:pt x="315" y="346"/>
                  </a:lnTo>
                  <a:close/>
                  <a:moveTo>
                    <a:pt x="318" y="401"/>
                  </a:moveTo>
                  <a:lnTo>
                    <a:pt x="318" y="401"/>
                  </a:lnTo>
                  <a:cubicBezTo>
                    <a:pt x="317" y="402"/>
                    <a:pt x="317" y="403"/>
                    <a:pt x="316" y="405"/>
                  </a:cubicBezTo>
                  <a:cubicBezTo>
                    <a:pt x="310" y="417"/>
                    <a:pt x="317" y="427"/>
                    <a:pt x="324" y="427"/>
                  </a:cubicBezTo>
                  <a:cubicBezTo>
                    <a:pt x="342" y="427"/>
                    <a:pt x="341" y="402"/>
                    <a:pt x="318" y="401"/>
                  </a:cubicBezTo>
                  <a:lnTo>
                    <a:pt x="318" y="401"/>
                  </a:lnTo>
                  <a:close/>
                  <a:moveTo>
                    <a:pt x="286" y="347"/>
                  </a:moveTo>
                  <a:lnTo>
                    <a:pt x="286" y="347"/>
                  </a:lnTo>
                  <a:cubicBezTo>
                    <a:pt x="277" y="340"/>
                    <a:pt x="266" y="331"/>
                    <a:pt x="261" y="320"/>
                  </a:cubicBezTo>
                  <a:cubicBezTo>
                    <a:pt x="260" y="326"/>
                    <a:pt x="260" y="332"/>
                    <a:pt x="262" y="338"/>
                  </a:cubicBezTo>
                  <a:lnTo>
                    <a:pt x="262" y="338"/>
                  </a:lnTo>
                  <a:cubicBezTo>
                    <a:pt x="264" y="347"/>
                    <a:pt x="268" y="355"/>
                    <a:pt x="272" y="361"/>
                  </a:cubicBezTo>
                  <a:cubicBezTo>
                    <a:pt x="276" y="357"/>
                    <a:pt x="281" y="352"/>
                    <a:pt x="286" y="347"/>
                  </a:cubicBezTo>
                  <a:lnTo>
                    <a:pt x="286" y="347"/>
                  </a:lnTo>
                  <a:close/>
                  <a:moveTo>
                    <a:pt x="266" y="460"/>
                  </a:moveTo>
                  <a:lnTo>
                    <a:pt x="266" y="460"/>
                  </a:lnTo>
                  <a:cubicBezTo>
                    <a:pt x="266" y="468"/>
                    <a:pt x="267" y="476"/>
                    <a:pt x="266" y="484"/>
                  </a:cubicBezTo>
                  <a:cubicBezTo>
                    <a:pt x="275" y="483"/>
                    <a:pt x="278" y="481"/>
                    <a:pt x="283" y="476"/>
                  </a:cubicBezTo>
                  <a:cubicBezTo>
                    <a:pt x="277" y="472"/>
                    <a:pt x="271" y="467"/>
                    <a:pt x="266" y="460"/>
                  </a:cubicBezTo>
                  <a:lnTo>
                    <a:pt x="266" y="460"/>
                  </a:lnTo>
                  <a:close/>
                  <a:moveTo>
                    <a:pt x="263" y="356"/>
                  </a:moveTo>
                  <a:lnTo>
                    <a:pt x="263" y="356"/>
                  </a:lnTo>
                  <a:lnTo>
                    <a:pt x="252" y="362"/>
                  </a:lnTo>
                  <a:lnTo>
                    <a:pt x="258" y="374"/>
                  </a:lnTo>
                  <a:cubicBezTo>
                    <a:pt x="260" y="373"/>
                    <a:pt x="262" y="372"/>
                    <a:pt x="264" y="372"/>
                  </a:cubicBezTo>
                  <a:cubicBezTo>
                    <a:pt x="265" y="370"/>
                    <a:pt x="267" y="368"/>
                    <a:pt x="269" y="366"/>
                  </a:cubicBezTo>
                  <a:cubicBezTo>
                    <a:pt x="267" y="363"/>
                    <a:pt x="265" y="359"/>
                    <a:pt x="263" y="356"/>
                  </a:cubicBezTo>
                  <a:lnTo>
                    <a:pt x="263" y="356"/>
                  </a:lnTo>
                  <a:close/>
                  <a:moveTo>
                    <a:pt x="232" y="406"/>
                  </a:moveTo>
                  <a:lnTo>
                    <a:pt x="232" y="406"/>
                  </a:lnTo>
                  <a:cubicBezTo>
                    <a:pt x="232" y="408"/>
                    <a:pt x="232" y="411"/>
                    <a:pt x="232" y="413"/>
                  </a:cubicBezTo>
                  <a:cubicBezTo>
                    <a:pt x="238" y="409"/>
                    <a:pt x="246" y="403"/>
                    <a:pt x="251" y="402"/>
                  </a:cubicBezTo>
                  <a:cubicBezTo>
                    <a:pt x="253" y="395"/>
                    <a:pt x="255" y="388"/>
                    <a:pt x="259" y="379"/>
                  </a:cubicBezTo>
                  <a:cubicBezTo>
                    <a:pt x="259" y="380"/>
                    <a:pt x="258" y="380"/>
                    <a:pt x="258" y="380"/>
                  </a:cubicBezTo>
                  <a:cubicBezTo>
                    <a:pt x="258" y="380"/>
                    <a:pt x="258" y="380"/>
                    <a:pt x="258" y="380"/>
                  </a:cubicBezTo>
                  <a:cubicBezTo>
                    <a:pt x="246" y="387"/>
                    <a:pt x="234" y="401"/>
                    <a:pt x="232" y="406"/>
                  </a:cubicBezTo>
                  <a:lnTo>
                    <a:pt x="232" y="406"/>
                  </a:lnTo>
                  <a:close/>
                  <a:moveTo>
                    <a:pt x="233" y="371"/>
                  </a:moveTo>
                  <a:lnTo>
                    <a:pt x="233" y="371"/>
                  </a:lnTo>
                  <a:cubicBezTo>
                    <a:pt x="232" y="379"/>
                    <a:pt x="231" y="388"/>
                    <a:pt x="232" y="397"/>
                  </a:cubicBezTo>
                  <a:cubicBezTo>
                    <a:pt x="234" y="393"/>
                    <a:pt x="238" y="389"/>
                    <a:pt x="242" y="385"/>
                  </a:cubicBezTo>
                  <a:lnTo>
                    <a:pt x="233" y="371"/>
                  </a:lnTo>
                  <a:lnTo>
                    <a:pt x="233" y="371"/>
                  </a:lnTo>
                  <a:close/>
                  <a:moveTo>
                    <a:pt x="236" y="352"/>
                  </a:moveTo>
                  <a:lnTo>
                    <a:pt x="236" y="352"/>
                  </a:lnTo>
                  <a:cubicBezTo>
                    <a:pt x="235" y="355"/>
                    <a:pt x="235" y="359"/>
                    <a:pt x="234" y="362"/>
                  </a:cubicBezTo>
                  <a:lnTo>
                    <a:pt x="246" y="381"/>
                  </a:lnTo>
                  <a:cubicBezTo>
                    <a:pt x="248" y="380"/>
                    <a:pt x="251" y="378"/>
                    <a:pt x="253" y="377"/>
                  </a:cubicBezTo>
                  <a:cubicBezTo>
                    <a:pt x="243" y="357"/>
                    <a:pt x="241" y="361"/>
                    <a:pt x="260" y="351"/>
                  </a:cubicBezTo>
                  <a:cubicBezTo>
                    <a:pt x="259" y="348"/>
                    <a:pt x="258" y="345"/>
                    <a:pt x="257" y="342"/>
                  </a:cubicBezTo>
                  <a:cubicBezTo>
                    <a:pt x="252" y="343"/>
                    <a:pt x="243" y="347"/>
                    <a:pt x="236" y="352"/>
                  </a:cubicBezTo>
                  <a:lnTo>
                    <a:pt x="236" y="352"/>
                  </a:lnTo>
                  <a:close/>
                  <a:moveTo>
                    <a:pt x="267" y="279"/>
                  </a:moveTo>
                  <a:lnTo>
                    <a:pt x="267" y="279"/>
                  </a:lnTo>
                  <a:cubicBezTo>
                    <a:pt x="254" y="299"/>
                    <a:pt x="244" y="321"/>
                    <a:pt x="238" y="344"/>
                  </a:cubicBezTo>
                  <a:cubicBezTo>
                    <a:pt x="244" y="340"/>
                    <a:pt x="251" y="338"/>
                    <a:pt x="255" y="336"/>
                  </a:cubicBezTo>
                  <a:cubicBezTo>
                    <a:pt x="254" y="328"/>
                    <a:pt x="254" y="319"/>
                    <a:pt x="258" y="309"/>
                  </a:cubicBezTo>
                  <a:cubicBezTo>
                    <a:pt x="259" y="306"/>
                    <a:pt x="263" y="306"/>
                    <a:pt x="263" y="310"/>
                  </a:cubicBezTo>
                  <a:cubicBezTo>
                    <a:pt x="265" y="324"/>
                    <a:pt x="280" y="335"/>
                    <a:pt x="291" y="344"/>
                  </a:cubicBezTo>
                  <a:cubicBezTo>
                    <a:pt x="293" y="342"/>
                    <a:pt x="296" y="339"/>
                    <a:pt x="299" y="337"/>
                  </a:cubicBezTo>
                  <a:cubicBezTo>
                    <a:pt x="283" y="325"/>
                    <a:pt x="271" y="308"/>
                    <a:pt x="267" y="279"/>
                  </a:cubicBezTo>
                  <a:lnTo>
                    <a:pt x="267" y="279"/>
                  </a:lnTo>
                  <a:close/>
                  <a:moveTo>
                    <a:pt x="287" y="255"/>
                  </a:moveTo>
                  <a:lnTo>
                    <a:pt x="287" y="255"/>
                  </a:lnTo>
                  <a:cubicBezTo>
                    <a:pt x="284" y="258"/>
                    <a:pt x="281" y="261"/>
                    <a:pt x="278" y="265"/>
                  </a:cubicBezTo>
                  <a:cubicBezTo>
                    <a:pt x="284" y="273"/>
                    <a:pt x="290" y="278"/>
                    <a:pt x="298" y="281"/>
                  </a:cubicBezTo>
                  <a:cubicBezTo>
                    <a:pt x="297" y="274"/>
                    <a:pt x="297" y="264"/>
                    <a:pt x="299" y="258"/>
                  </a:cubicBezTo>
                  <a:lnTo>
                    <a:pt x="287" y="255"/>
                  </a:lnTo>
                  <a:lnTo>
                    <a:pt x="287" y="255"/>
                  </a:lnTo>
                  <a:close/>
                  <a:moveTo>
                    <a:pt x="445" y="236"/>
                  </a:moveTo>
                  <a:lnTo>
                    <a:pt x="445" y="236"/>
                  </a:lnTo>
                  <a:cubicBezTo>
                    <a:pt x="442" y="238"/>
                    <a:pt x="439" y="239"/>
                    <a:pt x="435" y="239"/>
                  </a:cubicBezTo>
                  <a:cubicBezTo>
                    <a:pt x="434" y="247"/>
                    <a:pt x="433" y="255"/>
                    <a:pt x="434" y="263"/>
                  </a:cubicBezTo>
                  <a:lnTo>
                    <a:pt x="449" y="247"/>
                  </a:lnTo>
                  <a:cubicBezTo>
                    <a:pt x="446" y="243"/>
                    <a:pt x="445" y="240"/>
                    <a:pt x="445" y="236"/>
                  </a:cubicBezTo>
                  <a:lnTo>
                    <a:pt x="445" y="236"/>
                  </a:lnTo>
                  <a:close/>
                  <a:moveTo>
                    <a:pt x="428" y="253"/>
                  </a:moveTo>
                  <a:lnTo>
                    <a:pt x="428" y="253"/>
                  </a:lnTo>
                  <a:cubicBezTo>
                    <a:pt x="424" y="252"/>
                    <a:pt x="420" y="251"/>
                    <a:pt x="418" y="247"/>
                  </a:cubicBezTo>
                  <a:cubicBezTo>
                    <a:pt x="417" y="245"/>
                    <a:pt x="423" y="246"/>
                    <a:pt x="424" y="246"/>
                  </a:cubicBezTo>
                  <a:cubicBezTo>
                    <a:pt x="426" y="246"/>
                    <a:pt x="427" y="245"/>
                    <a:pt x="429" y="245"/>
                  </a:cubicBezTo>
                  <a:cubicBezTo>
                    <a:pt x="429" y="242"/>
                    <a:pt x="429" y="239"/>
                    <a:pt x="430" y="236"/>
                  </a:cubicBezTo>
                  <a:cubicBezTo>
                    <a:pt x="430" y="236"/>
                    <a:pt x="430" y="235"/>
                    <a:pt x="430" y="235"/>
                  </a:cubicBezTo>
                  <a:cubicBezTo>
                    <a:pt x="430" y="234"/>
                    <a:pt x="430" y="233"/>
                    <a:pt x="430" y="232"/>
                  </a:cubicBezTo>
                  <a:cubicBezTo>
                    <a:pt x="431" y="229"/>
                    <a:pt x="436" y="229"/>
                    <a:pt x="436" y="233"/>
                  </a:cubicBezTo>
                  <a:cubicBezTo>
                    <a:pt x="452" y="232"/>
                    <a:pt x="449" y="208"/>
                    <a:pt x="432" y="212"/>
                  </a:cubicBezTo>
                  <a:cubicBezTo>
                    <a:pt x="428" y="212"/>
                    <a:pt x="427" y="207"/>
                    <a:pt x="431" y="206"/>
                  </a:cubicBezTo>
                  <a:cubicBezTo>
                    <a:pt x="435" y="205"/>
                    <a:pt x="438" y="205"/>
                    <a:pt x="441" y="206"/>
                  </a:cubicBezTo>
                  <a:cubicBezTo>
                    <a:pt x="439" y="183"/>
                    <a:pt x="403" y="197"/>
                    <a:pt x="423" y="215"/>
                  </a:cubicBezTo>
                  <a:cubicBezTo>
                    <a:pt x="426" y="217"/>
                    <a:pt x="423" y="222"/>
                    <a:pt x="420" y="219"/>
                  </a:cubicBezTo>
                  <a:cubicBezTo>
                    <a:pt x="416" y="216"/>
                    <a:pt x="414" y="213"/>
                    <a:pt x="413" y="210"/>
                  </a:cubicBezTo>
                  <a:cubicBezTo>
                    <a:pt x="400" y="212"/>
                    <a:pt x="403" y="228"/>
                    <a:pt x="412" y="231"/>
                  </a:cubicBezTo>
                  <a:lnTo>
                    <a:pt x="412" y="230"/>
                  </a:lnTo>
                  <a:cubicBezTo>
                    <a:pt x="413" y="227"/>
                    <a:pt x="418" y="228"/>
                    <a:pt x="417" y="232"/>
                  </a:cubicBezTo>
                  <a:lnTo>
                    <a:pt x="416" y="234"/>
                  </a:lnTo>
                  <a:cubicBezTo>
                    <a:pt x="416" y="235"/>
                    <a:pt x="416" y="235"/>
                    <a:pt x="416" y="235"/>
                  </a:cubicBezTo>
                  <a:lnTo>
                    <a:pt x="403" y="288"/>
                  </a:lnTo>
                  <a:cubicBezTo>
                    <a:pt x="406" y="288"/>
                    <a:pt x="408" y="289"/>
                    <a:pt x="410" y="289"/>
                  </a:cubicBezTo>
                  <a:lnTo>
                    <a:pt x="430" y="268"/>
                  </a:lnTo>
                  <a:cubicBezTo>
                    <a:pt x="428" y="263"/>
                    <a:pt x="428" y="258"/>
                    <a:pt x="428" y="253"/>
                  </a:cubicBezTo>
                  <a:lnTo>
                    <a:pt x="428" y="253"/>
                  </a:lnTo>
                  <a:close/>
                  <a:moveTo>
                    <a:pt x="456" y="273"/>
                  </a:moveTo>
                  <a:lnTo>
                    <a:pt x="456" y="273"/>
                  </a:lnTo>
                  <a:cubicBezTo>
                    <a:pt x="453" y="268"/>
                    <a:pt x="452" y="262"/>
                    <a:pt x="453" y="257"/>
                  </a:cubicBezTo>
                  <a:cubicBezTo>
                    <a:pt x="453" y="254"/>
                    <a:pt x="456" y="259"/>
                    <a:pt x="456" y="259"/>
                  </a:cubicBezTo>
                  <a:cubicBezTo>
                    <a:pt x="458" y="261"/>
                    <a:pt x="460" y="262"/>
                    <a:pt x="463" y="263"/>
                  </a:cubicBezTo>
                  <a:cubicBezTo>
                    <a:pt x="467" y="256"/>
                    <a:pt x="472" y="249"/>
                    <a:pt x="477" y="243"/>
                  </a:cubicBezTo>
                  <a:cubicBezTo>
                    <a:pt x="483" y="235"/>
                    <a:pt x="488" y="228"/>
                    <a:pt x="494" y="221"/>
                  </a:cubicBezTo>
                  <a:cubicBezTo>
                    <a:pt x="484" y="209"/>
                    <a:pt x="468" y="216"/>
                    <a:pt x="473" y="234"/>
                  </a:cubicBezTo>
                  <a:cubicBezTo>
                    <a:pt x="474" y="238"/>
                    <a:pt x="468" y="239"/>
                    <a:pt x="467" y="235"/>
                  </a:cubicBezTo>
                  <a:cubicBezTo>
                    <a:pt x="466" y="231"/>
                    <a:pt x="466" y="228"/>
                    <a:pt x="466" y="225"/>
                  </a:cubicBezTo>
                  <a:cubicBezTo>
                    <a:pt x="454" y="221"/>
                    <a:pt x="445" y="232"/>
                    <a:pt x="453" y="243"/>
                  </a:cubicBezTo>
                  <a:cubicBezTo>
                    <a:pt x="456" y="240"/>
                    <a:pt x="459" y="244"/>
                    <a:pt x="457" y="247"/>
                  </a:cubicBezTo>
                  <a:lnTo>
                    <a:pt x="435" y="270"/>
                  </a:lnTo>
                  <a:cubicBezTo>
                    <a:pt x="435" y="271"/>
                    <a:pt x="435" y="271"/>
                    <a:pt x="434" y="271"/>
                  </a:cubicBezTo>
                  <a:lnTo>
                    <a:pt x="417" y="290"/>
                  </a:lnTo>
                  <a:cubicBezTo>
                    <a:pt x="424" y="292"/>
                    <a:pt x="432" y="293"/>
                    <a:pt x="440" y="296"/>
                  </a:cubicBezTo>
                  <a:cubicBezTo>
                    <a:pt x="445" y="288"/>
                    <a:pt x="451" y="280"/>
                    <a:pt x="456" y="273"/>
                  </a:cubicBezTo>
                  <a:lnTo>
                    <a:pt x="456" y="273"/>
                  </a:lnTo>
                  <a:close/>
                  <a:moveTo>
                    <a:pt x="431" y="430"/>
                  </a:moveTo>
                  <a:lnTo>
                    <a:pt x="431" y="430"/>
                  </a:lnTo>
                  <a:cubicBezTo>
                    <a:pt x="462" y="417"/>
                    <a:pt x="472" y="392"/>
                    <a:pt x="471" y="372"/>
                  </a:cubicBezTo>
                  <a:cubicBezTo>
                    <a:pt x="464" y="382"/>
                    <a:pt x="457" y="393"/>
                    <a:pt x="450" y="402"/>
                  </a:cubicBezTo>
                  <a:cubicBezTo>
                    <a:pt x="444" y="412"/>
                    <a:pt x="437" y="421"/>
                    <a:pt x="431" y="430"/>
                  </a:cubicBezTo>
                  <a:lnTo>
                    <a:pt x="431" y="430"/>
                  </a:lnTo>
                  <a:close/>
                  <a:moveTo>
                    <a:pt x="493" y="359"/>
                  </a:moveTo>
                  <a:lnTo>
                    <a:pt x="493" y="359"/>
                  </a:lnTo>
                  <a:cubicBezTo>
                    <a:pt x="506" y="345"/>
                    <a:pt x="511" y="331"/>
                    <a:pt x="511" y="317"/>
                  </a:cubicBezTo>
                  <a:cubicBezTo>
                    <a:pt x="503" y="326"/>
                    <a:pt x="496" y="335"/>
                    <a:pt x="490" y="345"/>
                  </a:cubicBezTo>
                  <a:cubicBezTo>
                    <a:pt x="491" y="349"/>
                    <a:pt x="492" y="354"/>
                    <a:pt x="493" y="359"/>
                  </a:cubicBezTo>
                  <a:lnTo>
                    <a:pt x="493" y="359"/>
                  </a:lnTo>
                  <a:close/>
                  <a:moveTo>
                    <a:pt x="534" y="308"/>
                  </a:moveTo>
                  <a:lnTo>
                    <a:pt x="534" y="308"/>
                  </a:lnTo>
                  <a:cubicBezTo>
                    <a:pt x="548" y="297"/>
                    <a:pt x="553" y="285"/>
                    <a:pt x="553" y="270"/>
                  </a:cubicBezTo>
                  <a:cubicBezTo>
                    <a:pt x="545" y="277"/>
                    <a:pt x="538" y="284"/>
                    <a:pt x="531" y="292"/>
                  </a:cubicBezTo>
                  <a:cubicBezTo>
                    <a:pt x="532" y="298"/>
                    <a:pt x="533" y="303"/>
                    <a:pt x="534" y="308"/>
                  </a:cubicBezTo>
                  <a:lnTo>
                    <a:pt x="534" y="308"/>
                  </a:lnTo>
                  <a:close/>
                  <a:moveTo>
                    <a:pt x="533" y="331"/>
                  </a:moveTo>
                  <a:lnTo>
                    <a:pt x="533" y="331"/>
                  </a:lnTo>
                  <a:cubicBezTo>
                    <a:pt x="562" y="318"/>
                    <a:pt x="575" y="287"/>
                    <a:pt x="572" y="254"/>
                  </a:cubicBezTo>
                  <a:cubicBezTo>
                    <a:pt x="567" y="258"/>
                    <a:pt x="563" y="261"/>
                    <a:pt x="558" y="265"/>
                  </a:cubicBezTo>
                  <a:cubicBezTo>
                    <a:pt x="560" y="285"/>
                    <a:pt x="553" y="301"/>
                    <a:pt x="534" y="315"/>
                  </a:cubicBezTo>
                  <a:cubicBezTo>
                    <a:pt x="534" y="321"/>
                    <a:pt x="534" y="326"/>
                    <a:pt x="533" y="331"/>
                  </a:cubicBezTo>
                  <a:lnTo>
                    <a:pt x="533" y="331"/>
                  </a:lnTo>
                  <a:close/>
                  <a:moveTo>
                    <a:pt x="420" y="452"/>
                  </a:moveTo>
                  <a:lnTo>
                    <a:pt x="420" y="452"/>
                  </a:lnTo>
                  <a:cubicBezTo>
                    <a:pt x="420" y="452"/>
                    <a:pt x="420" y="452"/>
                    <a:pt x="420" y="452"/>
                  </a:cubicBezTo>
                  <a:cubicBezTo>
                    <a:pt x="453" y="449"/>
                    <a:pt x="482" y="423"/>
                    <a:pt x="488" y="388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9" y="380"/>
                    <a:pt x="489" y="373"/>
                    <a:pt x="488" y="365"/>
                  </a:cubicBezTo>
                  <a:cubicBezTo>
                    <a:pt x="488" y="365"/>
                    <a:pt x="488" y="364"/>
                    <a:pt x="488" y="364"/>
                  </a:cubicBezTo>
                  <a:cubicBezTo>
                    <a:pt x="488" y="360"/>
                    <a:pt x="487" y="355"/>
                    <a:pt x="485" y="351"/>
                  </a:cubicBezTo>
                  <a:cubicBezTo>
                    <a:pt x="482" y="355"/>
                    <a:pt x="479" y="360"/>
                    <a:pt x="475" y="365"/>
                  </a:cubicBezTo>
                  <a:cubicBezTo>
                    <a:pt x="480" y="390"/>
                    <a:pt x="469" y="425"/>
                    <a:pt x="425" y="438"/>
                  </a:cubicBezTo>
                  <a:cubicBezTo>
                    <a:pt x="422" y="443"/>
                    <a:pt x="418" y="447"/>
                    <a:pt x="415" y="452"/>
                  </a:cubicBezTo>
                  <a:cubicBezTo>
                    <a:pt x="416" y="452"/>
                    <a:pt x="418" y="452"/>
                    <a:pt x="420" y="452"/>
                  </a:cubicBezTo>
                  <a:lnTo>
                    <a:pt x="420" y="452"/>
                  </a:lnTo>
                  <a:close/>
                  <a:moveTo>
                    <a:pt x="299" y="552"/>
                  </a:moveTo>
                  <a:lnTo>
                    <a:pt x="299" y="552"/>
                  </a:lnTo>
                  <a:cubicBezTo>
                    <a:pt x="299" y="552"/>
                    <a:pt x="299" y="552"/>
                    <a:pt x="299" y="552"/>
                  </a:cubicBezTo>
                  <a:cubicBezTo>
                    <a:pt x="299" y="553"/>
                    <a:pt x="300" y="554"/>
                    <a:pt x="301" y="555"/>
                  </a:cubicBezTo>
                  <a:cubicBezTo>
                    <a:pt x="312" y="549"/>
                    <a:pt x="322" y="541"/>
                    <a:pt x="332" y="533"/>
                  </a:cubicBezTo>
                  <a:cubicBezTo>
                    <a:pt x="332" y="533"/>
                    <a:pt x="332" y="533"/>
                    <a:pt x="332" y="533"/>
                  </a:cubicBezTo>
                  <a:cubicBezTo>
                    <a:pt x="337" y="529"/>
                    <a:pt x="342" y="525"/>
                    <a:pt x="346" y="521"/>
                  </a:cubicBezTo>
                  <a:cubicBezTo>
                    <a:pt x="346" y="521"/>
                    <a:pt x="347" y="521"/>
                    <a:pt x="347" y="521"/>
                  </a:cubicBezTo>
                  <a:cubicBezTo>
                    <a:pt x="351" y="517"/>
                    <a:pt x="356" y="512"/>
                    <a:pt x="360" y="508"/>
                  </a:cubicBezTo>
                  <a:cubicBezTo>
                    <a:pt x="360" y="508"/>
                    <a:pt x="361" y="508"/>
                    <a:pt x="361" y="507"/>
                  </a:cubicBezTo>
                  <a:cubicBezTo>
                    <a:pt x="367" y="502"/>
                    <a:pt x="372" y="495"/>
                    <a:pt x="378" y="489"/>
                  </a:cubicBezTo>
                  <a:cubicBezTo>
                    <a:pt x="378" y="489"/>
                    <a:pt x="378" y="488"/>
                    <a:pt x="379" y="488"/>
                  </a:cubicBezTo>
                  <a:cubicBezTo>
                    <a:pt x="384" y="483"/>
                    <a:pt x="389" y="477"/>
                    <a:pt x="393" y="471"/>
                  </a:cubicBezTo>
                  <a:cubicBezTo>
                    <a:pt x="394" y="470"/>
                    <a:pt x="394" y="470"/>
                    <a:pt x="394" y="470"/>
                  </a:cubicBezTo>
                  <a:cubicBezTo>
                    <a:pt x="398" y="465"/>
                    <a:pt x="403" y="459"/>
                    <a:pt x="407" y="454"/>
                  </a:cubicBezTo>
                  <a:cubicBezTo>
                    <a:pt x="407" y="453"/>
                    <a:pt x="407" y="453"/>
                    <a:pt x="407" y="453"/>
                  </a:cubicBezTo>
                  <a:cubicBezTo>
                    <a:pt x="412" y="447"/>
                    <a:pt x="417" y="440"/>
                    <a:pt x="421" y="434"/>
                  </a:cubicBezTo>
                  <a:cubicBezTo>
                    <a:pt x="421" y="434"/>
                    <a:pt x="421" y="434"/>
                    <a:pt x="422" y="433"/>
                  </a:cubicBezTo>
                  <a:cubicBezTo>
                    <a:pt x="438" y="410"/>
                    <a:pt x="454" y="386"/>
                    <a:pt x="470" y="363"/>
                  </a:cubicBezTo>
                  <a:cubicBezTo>
                    <a:pt x="470" y="363"/>
                    <a:pt x="470" y="363"/>
                    <a:pt x="470" y="363"/>
                  </a:cubicBezTo>
                  <a:cubicBezTo>
                    <a:pt x="475" y="356"/>
                    <a:pt x="479" y="350"/>
                    <a:pt x="484" y="343"/>
                  </a:cubicBezTo>
                  <a:cubicBezTo>
                    <a:pt x="484" y="343"/>
                    <a:pt x="484" y="343"/>
                    <a:pt x="484" y="343"/>
                  </a:cubicBezTo>
                  <a:cubicBezTo>
                    <a:pt x="492" y="332"/>
                    <a:pt x="500" y="321"/>
                    <a:pt x="508" y="311"/>
                  </a:cubicBezTo>
                  <a:cubicBezTo>
                    <a:pt x="509" y="310"/>
                    <a:pt x="510" y="309"/>
                    <a:pt x="510" y="308"/>
                  </a:cubicBezTo>
                  <a:cubicBezTo>
                    <a:pt x="511" y="308"/>
                    <a:pt x="511" y="307"/>
                    <a:pt x="511" y="307"/>
                  </a:cubicBezTo>
                  <a:cubicBezTo>
                    <a:pt x="516" y="301"/>
                    <a:pt x="521" y="296"/>
                    <a:pt x="526" y="290"/>
                  </a:cubicBezTo>
                  <a:cubicBezTo>
                    <a:pt x="526" y="290"/>
                    <a:pt x="526" y="290"/>
                    <a:pt x="526" y="289"/>
                  </a:cubicBezTo>
                  <a:cubicBezTo>
                    <a:pt x="535" y="280"/>
                    <a:pt x="544" y="270"/>
                    <a:pt x="553" y="262"/>
                  </a:cubicBezTo>
                  <a:cubicBezTo>
                    <a:pt x="553" y="262"/>
                    <a:pt x="554" y="262"/>
                    <a:pt x="554" y="262"/>
                  </a:cubicBezTo>
                  <a:cubicBezTo>
                    <a:pt x="560" y="256"/>
                    <a:pt x="566" y="252"/>
                    <a:pt x="572" y="247"/>
                  </a:cubicBezTo>
                  <a:cubicBezTo>
                    <a:pt x="572" y="247"/>
                    <a:pt x="573" y="247"/>
                    <a:pt x="573" y="247"/>
                  </a:cubicBezTo>
                  <a:lnTo>
                    <a:pt x="574" y="246"/>
                  </a:lnTo>
                  <a:cubicBezTo>
                    <a:pt x="574" y="246"/>
                    <a:pt x="574" y="246"/>
                    <a:pt x="574" y="246"/>
                  </a:cubicBezTo>
                  <a:cubicBezTo>
                    <a:pt x="575" y="245"/>
                    <a:pt x="576" y="244"/>
                    <a:pt x="577" y="244"/>
                  </a:cubicBezTo>
                  <a:lnTo>
                    <a:pt x="571" y="228"/>
                  </a:lnTo>
                  <a:cubicBezTo>
                    <a:pt x="568" y="230"/>
                    <a:pt x="565" y="233"/>
                    <a:pt x="562" y="235"/>
                  </a:cubicBezTo>
                  <a:cubicBezTo>
                    <a:pt x="562" y="235"/>
                    <a:pt x="562" y="236"/>
                    <a:pt x="562" y="236"/>
                  </a:cubicBezTo>
                  <a:cubicBezTo>
                    <a:pt x="456" y="323"/>
                    <a:pt x="411" y="466"/>
                    <a:pt x="294" y="544"/>
                  </a:cubicBezTo>
                  <a:cubicBezTo>
                    <a:pt x="296" y="547"/>
                    <a:pt x="297" y="549"/>
                    <a:pt x="299" y="552"/>
                  </a:cubicBezTo>
                  <a:lnTo>
                    <a:pt x="299" y="552"/>
                  </a:lnTo>
                  <a:close/>
                  <a:moveTo>
                    <a:pt x="400" y="562"/>
                  </a:moveTo>
                  <a:lnTo>
                    <a:pt x="400" y="562"/>
                  </a:lnTo>
                  <a:cubicBezTo>
                    <a:pt x="400" y="562"/>
                    <a:pt x="400" y="562"/>
                    <a:pt x="400" y="562"/>
                  </a:cubicBezTo>
                  <a:cubicBezTo>
                    <a:pt x="402" y="563"/>
                    <a:pt x="405" y="563"/>
                    <a:pt x="407" y="563"/>
                  </a:cubicBezTo>
                  <a:cubicBezTo>
                    <a:pt x="414" y="563"/>
                    <a:pt x="421" y="561"/>
                    <a:pt x="426" y="556"/>
                  </a:cubicBezTo>
                  <a:cubicBezTo>
                    <a:pt x="426" y="556"/>
                    <a:pt x="426" y="556"/>
                    <a:pt x="426" y="556"/>
                  </a:cubicBezTo>
                  <a:cubicBezTo>
                    <a:pt x="433" y="551"/>
                    <a:pt x="437" y="543"/>
                    <a:pt x="437" y="534"/>
                  </a:cubicBezTo>
                  <a:cubicBezTo>
                    <a:pt x="437" y="529"/>
                    <a:pt x="436" y="525"/>
                    <a:pt x="434" y="522"/>
                  </a:cubicBezTo>
                  <a:cubicBezTo>
                    <a:pt x="434" y="521"/>
                    <a:pt x="434" y="521"/>
                    <a:pt x="434" y="521"/>
                  </a:cubicBezTo>
                  <a:cubicBezTo>
                    <a:pt x="429" y="511"/>
                    <a:pt x="419" y="505"/>
                    <a:pt x="407" y="505"/>
                  </a:cubicBezTo>
                  <a:cubicBezTo>
                    <a:pt x="406" y="505"/>
                    <a:pt x="404" y="505"/>
                    <a:pt x="403" y="505"/>
                  </a:cubicBezTo>
                  <a:lnTo>
                    <a:pt x="402" y="505"/>
                  </a:lnTo>
                  <a:cubicBezTo>
                    <a:pt x="397" y="506"/>
                    <a:pt x="392" y="508"/>
                    <a:pt x="388" y="512"/>
                  </a:cubicBezTo>
                  <a:lnTo>
                    <a:pt x="388" y="512"/>
                  </a:lnTo>
                  <a:cubicBezTo>
                    <a:pt x="382" y="517"/>
                    <a:pt x="378" y="525"/>
                    <a:pt x="378" y="534"/>
                  </a:cubicBezTo>
                  <a:cubicBezTo>
                    <a:pt x="378" y="547"/>
                    <a:pt x="387" y="559"/>
                    <a:pt x="400" y="562"/>
                  </a:cubicBezTo>
                  <a:lnTo>
                    <a:pt x="400" y="562"/>
                  </a:lnTo>
                  <a:close/>
                  <a:moveTo>
                    <a:pt x="324" y="668"/>
                  </a:moveTo>
                  <a:lnTo>
                    <a:pt x="324" y="668"/>
                  </a:lnTo>
                  <a:cubicBezTo>
                    <a:pt x="332" y="665"/>
                    <a:pt x="340" y="662"/>
                    <a:pt x="347" y="657"/>
                  </a:cubicBezTo>
                  <a:cubicBezTo>
                    <a:pt x="347" y="657"/>
                    <a:pt x="347" y="657"/>
                    <a:pt x="348" y="657"/>
                  </a:cubicBezTo>
                  <a:cubicBezTo>
                    <a:pt x="354" y="653"/>
                    <a:pt x="360" y="648"/>
                    <a:pt x="365" y="643"/>
                  </a:cubicBezTo>
                  <a:cubicBezTo>
                    <a:pt x="365" y="643"/>
                    <a:pt x="365" y="643"/>
                    <a:pt x="365" y="643"/>
                  </a:cubicBezTo>
                  <a:cubicBezTo>
                    <a:pt x="390" y="618"/>
                    <a:pt x="397" y="585"/>
                    <a:pt x="396" y="567"/>
                  </a:cubicBezTo>
                  <a:cubicBezTo>
                    <a:pt x="391" y="565"/>
                    <a:pt x="385" y="562"/>
                    <a:pt x="381" y="557"/>
                  </a:cubicBezTo>
                  <a:cubicBezTo>
                    <a:pt x="384" y="590"/>
                    <a:pt x="374" y="629"/>
                    <a:pt x="327" y="653"/>
                  </a:cubicBezTo>
                  <a:cubicBezTo>
                    <a:pt x="326" y="653"/>
                    <a:pt x="326" y="653"/>
                    <a:pt x="325" y="653"/>
                  </a:cubicBezTo>
                  <a:cubicBezTo>
                    <a:pt x="325" y="653"/>
                    <a:pt x="324" y="653"/>
                    <a:pt x="324" y="653"/>
                  </a:cubicBezTo>
                  <a:cubicBezTo>
                    <a:pt x="316" y="650"/>
                    <a:pt x="307" y="646"/>
                    <a:pt x="300" y="641"/>
                  </a:cubicBezTo>
                  <a:cubicBezTo>
                    <a:pt x="299" y="640"/>
                    <a:pt x="299" y="640"/>
                    <a:pt x="298" y="640"/>
                  </a:cubicBezTo>
                  <a:cubicBezTo>
                    <a:pt x="292" y="635"/>
                    <a:pt x="286" y="629"/>
                    <a:pt x="282" y="622"/>
                  </a:cubicBezTo>
                  <a:cubicBezTo>
                    <a:pt x="282" y="621"/>
                    <a:pt x="282" y="621"/>
                    <a:pt x="281" y="621"/>
                  </a:cubicBezTo>
                  <a:cubicBezTo>
                    <a:pt x="272" y="605"/>
                    <a:pt x="274" y="585"/>
                    <a:pt x="300" y="569"/>
                  </a:cubicBezTo>
                  <a:cubicBezTo>
                    <a:pt x="299" y="565"/>
                    <a:pt x="297" y="561"/>
                    <a:pt x="295" y="557"/>
                  </a:cubicBezTo>
                  <a:cubicBezTo>
                    <a:pt x="241" y="594"/>
                    <a:pt x="263" y="640"/>
                    <a:pt x="324" y="668"/>
                  </a:cubicBezTo>
                  <a:lnTo>
                    <a:pt x="324" y="668"/>
                  </a:lnTo>
                  <a:close/>
                  <a:moveTo>
                    <a:pt x="349" y="662"/>
                  </a:moveTo>
                  <a:lnTo>
                    <a:pt x="349" y="662"/>
                  </a:lnTo>
                  <a:cubicBezTo>
                    <a:pt x="344" y="666"/>
                    <a:pt x="338" y="669"/>
                    <a:pt x="331" y="672"/>
                  </a:cubicBezTo>
                  <a:cubicBezTo>
                    <a:pt x="363" y="685"/>
                    <a:pt x="405" y="694"/>
                    <a:pt x="449" y="693"/>
                  </a:cubicBezTo>
                  <a:cubicBezTo>
                    <a:pt x="423" y="683"/>
                    <a:pt x="374" y="667"/>
                    <a:pt x="349" y="662"/>
                  </a:cubicBezTo>
                  <a:lnTo>
                    <a:pt x="349" y="662"/>
                  </a:lnTo>
                  <a:close/>
                  <a:moveTo>
                    <a:pt x="368" y="648"/>
                  </a:moveTo>
                  <a:lnTo>
                    <a:pt x="368" y="648"/>
                  </a:lnTo>
                  <a:cubicBezTo>
                    <a:pt x="364" y="652"/>
                    <a:pt x="360" y="655"/>
                    <a:pt x="356" y="658"/>
                  </a:cubicBezTo>
                  <a:cubicBezTo>
                    <a:pt x="387" y="665"/>
                    <a:pt x="443" y="683"/>
                    <a:pt x="463" y="692"/>
                  </a:cubicBezTo>
                  <a:cubicBezTo>
                    <a:pt x="475" y="692"/>
                    <a:pt x="487" y="690"/>
                    <a:pt x="499" y="688"/>
                  </a:cubicBezTo>
                  <a:cubicBezTo>
                    <a:pt x="465" y="677"/>
                    <a:pt x="398" y="656"/>
                    <a:pt x="368" y="648"/>
                  </a:cubicBezTo>
                  <a:lnTo>
                    <a:pt x="368" y="648"/>
                  </a:lnTo>
                  <a:close/>
                  <a:moveTo>
                    <a:pt x="402" y="568"/>
                  </a:moveTo>
                  <a:lnTo>
                    <a:pt x="402" y="568"/>
                  </a:lnTo>
                  <a:cubicBezTo>
                    <a:pt x="402" y="587"/>
                    <a:pt x="395" y="619"/>
                    <a:pt x="372" y="644"/>
                  </a:cubicBezTo>
                  <a:cubicBezTo>
                    <a:pt x="407" y="652"/>
                    <a:pt x="482" y="676"/>
                    <a:pt x="510" y="686"/>
                  </a:cubicBezTo>
                  <a:cubicBezTo>
                    <a:pt x="514" y="685"/>
                    <a:pt x="518" y="684"/>
                    <a:pt x="521" y="683"/>
                  </a:cubicBezTo>
                  <a:cubicBezTo>
                    <a:pt x="517" y="661"/>
                    <a:pt x="517" y="629"/>
                    <a:pt x="528" y="594"/>
                  </a:cubicBezTo>
                  <a:cubicBezTo>
                    <a:pt x="497" y="592"/>
                    <a:pt x="461" y="582"/>
                    <a:pt x="428" y="562"/>
                  </a:cubicBezTo>
                  <a:cubicBezTo>
                    <a:pt x="422" y="566"/>
                    <a:pt x="415" y="569"/>
                    <a:pt x="407" y="569"/>
                  </a:cubicBezTo>
                  <a:cubicBezTo>
                    <a:pt x="405" y="569"/>
                    <a:pt x="404" y="569"/>
                    <a:pt x="402" y="568"/>
                  </a:cubicBezTo>
                  <a:lnTo>
                    <a:pt x="402" y="568"/>
                  </a:lnTo>
                  <a:close/>
                  <a:moveTo>
                    <a:pt x="402" y="492"/>
                  </a:moveTo>
                  <a:lnTo>
                    <a:pt x="402" y="492"/>
                  </a:lnTo>
                  <a:cubicBezTo>
                    <a:pt x="402" y="495"/>
                    <a:pt x="403" y="497"/>
                    <a:pt x="404" y="499"/>
                  </a:cubicBezTo>
                  <a:cubicBezTo>
                    <a:pt x="405" y="499"/>
                    <a:pt x="406" y="499"/>
                    <a:pt x="407" y="499"/>
                  </a:cubicBezTo>
                  <a:cubicBezTo>
                    <a:pt x="413" y="499"/>
                    <a:pt x="418" y="500"/>
                    <a:pt x="423" y="503"/>
                  </a:cubicBezTo>
                  <a:cubicBezTo>
                    <a:pt x="426" y="487"/>
                    <a:pt x="411" y="481"/>
                    <a:pt x="402" y="492"/>
                  </a:cubicBezTo>
                  <a:lnTo>
                    <a:pt x="402" y="492"/>
                  </a:lnTo>
                  <a:close/>
                  <a:moveTo>
                    <a:pt x="422" y="464"/>
                  </a:moveTo>
                  <a:lnTo>
                    <a:pt x="422" y="464"/>
                  </a:lnTo>
                  <a:cubicBezTo>
                    <a:pt x="447" y="470"/>
                    <a:pt x="455" y="502"/>
                    <a:pt x="440" y="521"/>
                  </a:cubicBezTo>
                  <a:cubicBezTo>
                    <a:pt x="441" y="525"/>
                    <a:pt x="442" y="529"/>
                    <a:pt x="442" y="534"/>
                  </a:cubicBezTo>
                  <a:cubicBezTo>
                    <a:pt x="442" y="543"/>
                    <a:pt x="438" y="552"/>
                    <a:pt x="432" y="558"/>
                  </a:cubicBezTo>
                  <a:cubicBezTo>
                    <a:pt x="481" y="588"/>
                    <a:pt x="536" y="593"/>
                    <a:pt x="572" y="586"/>
                  </a:cubicBezTo>
                  <a:cubicBezTo>
                    <a:pt x="610" y="578"/>
                    <a:pt x="623" y="557"/>
                    <a:pt x="600" y="536"/>
                  </a:cubicBezTo>
                  <a:cubicBezTo>
                    <a:pt x="595" y="532"/>
                    <a:pt x="607" y="521"/>
                    <a:pt x="615" y="520"/>
                  </a:cubicBezTo>
                  <a:cubicBezTo>
                    <a:pt x="616" y="515"/>
                    <a:pt x="614" y="511"/>
                    <a:pt x="609" y="509"/>
                  </a:cubicBezTo>
                  <a:cubicBezTo>
                    <a:pt x="598" y="508"/>
                    <a:pt x="579" y="514"/>
                    <a:pt x="566" y="517"/>
                  </a:cubicBezTo>
                  <a:cubicBezTo>
                    <a:pt x="566" y="519"/>
                    <a:pt x="562" y="520"/>
                    <a:pt x="561" y="517"/>
                  </a:cubicBezTo>
                  <a:cubicBezTo>
                    <a:pt x="560" y="513"/>
                    <a:pt x="563" y="507"/>
                    <a:pt x="564" y="505"/>
                  </a:cubicBezTo>
                  <a:cubicBezTo>
                    <a:pt x="566" y="501"/>
                    <a:pt x="570" y="504"/>
                    <a:pt x="569" y="507"/>
                  </a:cubicBezTo>
                  <a:cubicBezTo>
                    <a:pt x="568" y="508"/>
                    <a:pt x="568" y="509"/>
                    <a:pt x="567" y="511"/>
                  </a:cubicBezTo>
                  <a:cubicBezTo>
                    <a:pt x="580" y="508"/>
                    <a:pt x="597" y="502"/>
                    <a:pt x="609" y="503"/>
                  </a:cubicBezTo>
                  <a:cubicBezTo>
                    <a:pt x="612" y="501"/>
                    <a:pt x="620" y="495"/>
                    <a:pt x="619" y="491"/>
                  </a:cubicBezTo>
                  <a:cubicBezTo>
                    <a:pt x="618" y="490"/>
                    <a:pt x="617" y="489"/>
                    <a:pt x="616" y="487"/>
                  </a:cubicBezTo>
                  <a:cubicBezTo>
                    <a:pt x="610" y="479"/>
                    <a:pt x="612" y="473"/>
                    <a:pt x="618" y="467"/>
                  </a:cubicBezTo>
                  <a:cubicBezTo>
                    <a:pt x="608" y="466"/>
                    <a:pt x="596" y="467"/>
                    <a:pt x="590" y="474"/>
                  </a:cubicBezTo>
                  <a:cubicBezTo>
                    <a:pt x="586" y="479"/>
                    <a:pt x="579" y="467"/>
                    <a:pt x="579" y="466"/>
                  </a:cubicBezTo>
                  <a:cubicBezTo>
                    <a:pt x="576" y="460"/>
                    <a:pt x="576" y="452"/>
                    <a:pt x="586" y="443"/>
                  </a:cubicBezTo>
                  <a:cubicBezTo>
                    <a:pt x="588" y="440"/>
                    <a:pt x="592" y="445"/>
                    <a:pt x="590" y="447"/>
                  </a:cubicBezTo>
                  <a:cubicBezTo>
                    <a:pt x="582" y="454"/>
                    <a:pt x="580" y="461"/>
                    <a:pt x="587" y="468"/>
                  </a:cubicBezTo>
                  <a:lnTo>
                    <a:pt x="588" y="469"/>
                  </a:lnTo>
                  <a:cubicBezTo>
                    <a:pt x="598" y="461"/>
                    <a:pt x="612" y="460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cubicBezTo>
                    <a:pt x="645" y="461"/>
                    <a:pt x="644" y="453"/>
                    <a:pt x="638" y="437"/>
                  </a:cubicBezTo>
                  <a:cubicBezTo>
                    <a:pt x="636" y="431"/>
                    <a:pt x="633" y="424"/>
                    <a:pt x="630" y="415"/>
                  </a:cubicBezTo>
                  <a:cubicBezTo>
                    <a:pt x="625" y="404"/>
                    <a:pt x="617" y="379"/>
                    <a:pt x="608" y="353"/>
                  </a:cubicBezTo>
                  <a:cubicBezTo>
                    <a:pt x="584" y="343"/>
                    <a:pt x="549" y="349"/>
                    <a:pt x="523" y="361"/>
                  </a:cubicBezTo>
                  <a:cubicBezTo>
                    <a:pt x="516" y="371"/>
                    <a:pt x="507" y="380"/>
                    <a:pt x="493" y="389"/>
                  </a:cubicBezTo>
                  <a:cubicBezTo>
                    <a:pt x="487" y="426"/>
                    <a:pt x="457" y="453"/>
                    <a:pt x="423" y="457"/>
                  </a:cubicBezTo>
                  <a:lnTo>
                    <a:pt x="422" y="464"/>
                  </a:lnTo>
                  <a:lnTo>
                    <a:pt x="422" y="464"/>
                  </a:lnTo>
                  <a:close/>
                  <a:moveTo>
                    <a:pt x="416" y="463"/>
                  </a:moveTo>
                  <a:lnTo>
                    <a:pt x="416" y="463"/>
                  </a:lnTo>
                  <a:lnTo>
                    <a:pt x="417" y="458"/>
                  </a:lnTo>
                  <a:cubicBezTo>
                    <a:pt x="415" y="458"/>
                    <a:pt x="413" y="458"/>
                    <a:pt x="411" y="458"/>
                  </a:cubicBezTo>
                  <a:cubicBezTo>
                    <a:pt x="407" y="463"/>
                    <a:pt x="403" y="468"/>
                    <a:pt x="399" y="473"/>
                  </a:cubicBezTo>
                  <a:cubicBezTo>
                    <a:pt x="399" y="477"/>
                    <a:pt x="399" y="482"/>
                    <a:pt x="400" y="485"/>
                  </a:cubicBezTo>
                  <a:cubicBezTo>
                    <a:pt x="412" y="476"/>
                    <a:pt x="435" y="482"/>
                    <a:pt x="428" y="506"/>
                  </a:cubicBezTo>
                  <a:cubicBezTo>
                    <a:pt x="431" y="508"/>
                    <a:pt x="434" y="511"/>
                    <a:pt x="437" y="515"/>
                  </a:cubicBezTo>
                  <a:cubicBezTo>
                    <a:pt x="449" y="498"/>
                    <a:pt x="439" y="469"/>
                    <a:pt x="414" y="469"/>
                  </a:cubicBezTo>
                  <a:cubicBezTo>
                    <a:pt x="411" y="468"/>
                    <a:pt x="411" y="463"/>
                    <a:pt x="415" y="463"/>
                  </a:cubicBezTo>
                  <a:cubicBezTo>
                    <a:pt x="415" y="463"/>
                    <a:pt x="416" y="463"/>
                    <a:pt x="416" y="463"/>
                  </a:cubicBezTo>
                  <a:lnTo>
                    <a:pt x="416" y="463"/>
                  </a:lnTo>
                  <a:close/>
                  <a:moveTo>
                    <a:pt x="514" y="262"/>
                  </a:moveTo>
                  <a:lnTo>
                    <a:pt x="514" y="262"/>
                  </a:lnTo>
                  <a:cubicBezTo>
                    <a:pt x="514" y="265"/>
                    <a:pt x="511" y="267"/>
                    <a:pt x="509" y="267"/>
                  </a:cubicBezTo>
                  <a:cubicBezTo>
                    <a:pt x="506" y="267"/>
                    <a:pt x="503" y="265"/>
                    <a:pt x="503" y="262"/>
                  </a:cubicBezTo>
                  <a:cubicBezTo>
                    <a:pt x="503" y="259"/>
                    <a:pt x="506" y="257"/>
                    <a:pt x="509" y="257"/>
                  </a:cubicBezTo>
                  <a:cubicBezTo>
                    <a:pt x="511" y="257"/>
                    <a:pt x="514" y="259"/>
                    <a:pt x="514" y="262"/>
                  </a:cubicBezTo>
                  <a:lnTo>
                    <a:pt x="514" y="262"/>
                  </a:lnTo>
                  <a:close/>
                  <a:moveTo>
                    <a:pt x="529" y="244"/>
                  </a:moveTo>
                  <a:lnTo>
                    <a:pt x="529" y="244"/>
                  </a:lnTo>
                  <a:cubicBezTo>
                    <a:pt x="529" y="248"/>
                    <a:pt x="526" y="250"/>
                    <a:pt x="523" y="250"/>
                  </a:cubicBezTo>
                  <a:cubicBezTo>
                    <a:pt x="520" y="250"/>
                    <a:pt x="517" y="248"/>
                    <a:pt x="517" y="244"/>
                  </a:cubicBezTo>
                  <a:cubicBezTo>
                    <a:pt x="517" y="241"/>
                    <a:pt x="520" y="239"/>
                    <a:pt x="523" y="239"/>
                  </a:cubicBezTo>
                  <a:cubicBezTo>
                    <a:pt x="526" y="239"/>
                    <a:pt x="529" y="241"/>
                    <a:pt x="529" y="244"/>
                  </a:cubicBezTo>
                  <a:lnTo>
                    <a:pt x="529" y="244"/>
                  </a:lnTo>
                  <a:close/>
                  <a:moveTo>
                    <a:pt x="499" y="280"/>
                  </a:moveTo>
                  <a:lnTo>
                    <a:pt x="499" y="280"/>
                  </a:lnTo>
                  <a:cubicBezTo>
                    <a:pt x="499" y="283"/>
                    <a:pt x="497" y="285"/>
                    <a:pt x="495" y="285"/>
                  </a:cubicBezTo>
                  <a:cubicBezTo>
                    <a:pt x="492" y="285"/>
                    <a:pt x="490" y="283"/>
                    <a:pt x="490" y="280"/>
                  </a:cubicBezTo>
                  <a:cubicBezTo>
                    <a:pt x="490" y="278"/>
                    <a:pt x="492" y="276"/>
                    <a:pt x="495" y="276"/>
                  </a:cubicBezTo>
                  <a:cubicBezTo>
                    <a:pt x="497" y="276"/>
                    <a:pt x="499" y="278"/>
                    <a:pt x="499" y="280"/>
                  </a:cubicBezTo>
                  <a:lnTo>
                    <a:pt x="499" y="280"/>
                  </a:lnTo>
                  <a:close/>
                  <a:moveTo>
                    <a:pt x="339" y="230"/>
                  </a:moveTo>
                  <a:lnTo>
                    <a:pt x="339" y="230"/>
                  </a:lnTo>
                  <a:cubicBezTo>
                    <a:pt x="339" y="233"/>
                    <a:pt x="336" y="236"/>
                    <a:pt x="333" y="236"/>
                  </a:cubicBezTo>
                  <a:cubicBezTo>
                    <a:pt x="330" y="236"/>
                    <a:pt x="328" y="233"/>
                    <a:pt x="328" y="230"/>
                  </a:cubicBezTo>
                  <a:cubicBezTo>
                    <a:pt x="328" y="227"/>
                    <a:pt x="330" y="224"/>
                    <a:pt x="333" y="224"/>
                  </a:cubicBezTo>
                  <a:cubicBezTo>
                    <a:pt x="336" y="224"/>
                    <a:pt x="339" y="227"/>
                    <a:pt x="339" y="230"/>
                  </a:cubicBezTo>
                  <a:lnTo>
                    <a:pt x="339" y="230"/>
                  </a:lnTo>
                  <a:close/>
                  <a:moveTo>
                    <a:pt x="407" y="544"/>
                  </a:moveTo>
                  <a:lnTo>
                    <a:pt x="407" y="544"/>
                  </a:lnTo>
                  <a:cubicBezTo>
                    <a:pt x="413" y="544"/>
                    <a:pt x="417" y="539"/>
                    <a:pt x="417" y="534"/>
                  </a:cubicBezTo>
                  <a:cubicBezTo>
                    <a:pt x="417" y="528"/>
                    <a:pt x="413" y="524"/>
                    <a:pt x="407" y="524"/>
                  </a:cubicBezTo>
                  <a:cubicBezTo>
                    <a:pt x="402" y="524"/>
                    <a:pt x="397" y="528"/>
                    <a:pt x="397" y="534"/>
                  </a:cubicBezTo>
                  <a:cubicBezTo>
                    <a:pt x="397" y="539"/>
                    <a:pt x="402" y="544"/>
                    <a:pt x="407" y="544"/>
                  </a:cubicBezTo>
                  <a:lnTo>
                    <a:pt x="407" y="544"/>
                  </a:lnTo>
                  <a:close/>
                  <a:moveTo>
                    <a:pt x="407" y="550"/>
                  </a:moveTo>
                  <a:lnTo>
                    <a:pt x="407" y="550"/>
                  </a:lnTo>
                  <a:cubicBezTo>
                    <a:pt x="399" y="550"/>
                    <a:pt x="392" y="542"/>
                    <a:pt x="392" y="534"/>
                  </a:cubicBezTo>
                  <a:cubicBezTo>
                    <a:pt x="392" y="525"/>
                    <a:pt x="399" y="518"/>
                    <a:pt x="407" y="518"/>
                  </a:cubicBezTo>
                  <a:cubicBezTo>
                    <a:pt x="416" y="518"/>
                    <a:pt x="423" y="525"/>
                    <a:pt x="423" y="534"/>
                  </a:cubicBezTo>
                  <a:cubicBezTo>
                    <a:pt x="423" y="542"/>
                    <a:pt x="416" y="550"/>
                    <a:pt x="407" y="550"/>
                  </a:cubicBezTo>
                  <a:lnTo>
                    <a:pt x="407" y="550"/>
                  </a:lnTo>
                  <a:close/>
                  <a:moveTo>
                    <a:pt x="624" y="463"/>
                  </a:moveTo>
                  <a:lnTo>
                    <a:pt x="624" y="463"/>
                  </a:lnTo>
                  <a:cubicBezTo>
                    <a:pt x="624" y="463"/>
                    <a:pt x="624" y="463"/>
                    <a:pt x="624" y="463"/>
                  </a:cubicBezTo>
                  <a:lnTo>
                    <a:pt x="624" y="463"/>
                  </a:lnTo>
                  <a:lnTo>
                    <a:pt x="624" y="463"/>
                  </a:lnTo>
                  <a:lnTo>
                    <a:pt x="624" y="463"/>
                  </a:lnTo>
                  <a:close/>
                  <a:moveTo>
                    <a:pt x="541" y="399"/>
                  </a:moveTo>
                  <a:lnTo>
                    <a:pt x="541" y="399"/>
                  </a:lnTo>
                  <a:cubicBezTo>
                    <a:pt x="539" y="395"/>
                    <a:pt x="539" y="389"/>
                    <a:pt x="539" y="383"/>
                  </a:cubicBezTo>
                  <a:cubicBezTo>
                    <a:pt x="531" y="385"/>
                    <a:pt x="523" y="389"/>
                    <a:pt x="516" y="395"/>
                  </a:cubicBezTo>
                  <a:cubicBezTo>
                    <a:pt x="518" y="395"/>
                    <a:pt x="522" y="397"/>
                    <a:pt x="527" y="398"/>
                  </a:cubicBezTo>
                  <a:cubicBezTo>
                    <a:pt x="531" y="398"/>
                    <a:pt x="536" y="399"/>
                    <a:pt x="541" y="399"/>
                  </a:cubicBezTo>
                  <a:lnTo>
                    <a:pt x="541" y="399"/>
                  </a:lnTo>
                  <a:close/>
                  <a:moveTo>
                    <a:pt x="545" y="381"/>
                  </a:moveTo>
                  <a:lnTo>
                    <a:pt x="545" y="381"/>
                  </a:lnTo>
                  <a:cubicBezTo>
                    <a:pt x="544" y="389"/>
                    <a:pt x="545" y="395"/>
                    <a:pt x="547" y="400"/>
                  </a:cubicBezTo>
                  <a:cubicBezTo>
                    <a:pt x="551" y="400"/>
                    <a:pt x="554" y="399"/>
                    <a:pt x="558" y="399"/>
                  </a:cubicBezTo>
                  <a:cubicBezTo>
                    <a:pt x="556" y="397"/>
                    <a:pt x="555" y="393"/>
                    <a:pt x="555" y="389"/>
                  </a:cubicBezTo>
                  <a:cubicBezTo>
                    <a:pt x="555" y="386"/>
                    <a:pt x="555" y="382"/>
                    <a:pt x="556" y="379"/>
                  </a:cubicBezTo>
                  <a:cubicBezTo>
                    <a:pt x="553" y="380"/>
                    <a:pt x="549" y="380"/>
                    <a:pt x="545" y="381"/>
                  </a:cubicBezTo>
                  <a:lnTo>
                    <a:pt x="545" y="381"/>
                  </a:lnTo>
                  <a:close/>
                  <a:moveTo>
                    <a:pt x="569" y="373"/>
                  </a:moveTo>
                  <a:lnTo>
                    <a:pt x="569" y="373"/>
                  </a:lnTo>
                  <a:cubicBezTo>
                    <a:pt x="572" y="373"/>
                    <a:pt x="576" y="372"/>
                    <a:pt x="579" y="373"/>
                  </a:cubicBezTo>
                  <a:cubicBezTo>
                    <a:pt x="581" y="373"/>
                    <a:pt x="582" y="375"/>
                    <a:pt x="582" y="376"/>
                  </a:cubicBezTo>
                  <a:cubicBezTo>
                    <a:pt x="582" y="379"/>
                    <a:pt x="577" y="381"/>
                    <a:pt x="574" y="382"/>
                  </a:cubicBezTo>
                  <a:cubicBezTo>
                    <a:pt x="574" y="384"/>
                    <a:pt x="575" y="386"/>
                    <a:pt x="575" y="387"/>
                  </a:cubicBezTo>
                  <a:cubicBezTo>
                    <a:pt x="576" y="395"/>
                    <a:pt x="572" y="402"/>
                    <a:pt x="567" y="404"/>
                  </a:cubicBezTo>
                  <a:cubicBezTo>
                    <a:pt x="567" y="404"/>
                    <a:pt x="567" y="404"/>
                    <a:pt x="567" y="404"/>
                  </a:cubicBezTo>
                  <a:cubicBezTo>
                    <a:pt x="560" y="405"/>
                    <a:pt x="553" y="405"/>
                    <a:pt x="546" y="405"/>
                  </a:cubicBezTo>
                  <a:cubicBezTo>
                    <a:pt x="545" y="405"/>
                    <a:pt x="545" y="405"/>
                    <a:pt x="544" y="405"/>
                  </a:cubicBezTo>
                  <a:cubicBezTo>
                    <a:pt x="533" y="405"/>
                    <a:pt x="521" y="403"/>
                    <a:pt x="511" y="399"/>
                  </a:cubicBezTo>
                  <a:cubicBezTo>
                    <a:pt x="511" y="399"/>
                    <a:pt x="511" y="399"/>
                    <a:pt x="511" y="399"/>
                  </a:cubicBezTo>
                  <a:cubicBezTo>
                    <a:pt x="508" y="402"/>
                    <a:pt x="504" y="399"/>
                    <a:pt x="506" y="396"/>
                  </a:cubicBezTo>
                  <a:cubicBezTo>
                    <a:pt x="506" y="396"/>
                    <a:pt x="507" y="395"/>
                    <a:pt x="508" y="394"/>
                  </a:cubicBezTo>
                  <a:cubicBezTo>
                    <a:pt x="508" y="394"/>
                    <a:pt x="509" y="393"/>
                    <a:pt x="509" y="393"/>
                  </a:cubicBezTo>
                  <a:cubicBezTo>
                    <a:pt x="515" y="387"/>
                    <a:pt x="534" y="373"/>
                    <a:pt x="569" y="373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02E5EC3-D4B3-41E3-A0F8-D2AA1BDD3B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970358" y="438150"/>
              <a:ext cx="700618" cy="768349"/>
            </a:xfrm>
            <a:custGeom>
              <a:avLst/>
              <a:gdLst>
                <a:gd name="T0" fmla="*/ 524 w 647"/>
                <a:gd name="T1" fmla="*/ 663 h 701"/>
                <a:gd name="T2" fmla="*/ 555 w 647"/>
                <a:gd name="T3" fmla="*/ 673 h 701"/>
                <a:gd name="T4" fmla="*/ 563 w 647"/>
                <a:gd name="T5" fmla="*/ 670 h 701"/>
                <a:gd name="T6" fmla="*/ 524 w 647"/>
                <a:gd name="T7" fmla="*/ 657 h 701"/>
                <a:gd name="T8" fmla="*/ 564 w 647"/>
                <a:gd name="T9" fmla="*/ 676 h 701"/>
                <a:gd name="T10" fmla="*/ 510 w 647"/>
                <a:gd name="T11" fmla="*/ 692 h 701"/>
                <a:gd name="T12" fmla="*/ 324 w 647"/>
                <a:gd name="T13" fmla="*/ 675 h 701"/>
                <a:gd name="T14" fmla="*/ 293 w 647"/>
                <a:gd name="T15" fmla="*/ 552 h 701"/>
                <a:gd name="T16" fmla="*/ 265 w 647"/>
                <a:gd name="T17" fmla="*/ 544 h 701"/>
                <a:gd name="T18" fmla="*/ 217 w 647"/>
                <a:gd name="T19" fmla="*/ 599 h 701"/>
                <a:gd name="T20" fmla="*/ 501 w 647"/>
                <a:gd name="T21" fmla="*/ 186 h 701"/>
                <a:gd name="T22" fmla="*/ 510 w 647"/>
                <a:gd name="T23" fmla="*/ 202 h 701"/>
                <a:gd name="T24" fmla="*/ 554 w 647"/>
                <a:gd name="T25" fmla="*/ 163 h 701"/>
                <a:gd name="T26" fmla="*/ 583 w 647"/>
                <a:gd name="T27" fmla="*/ 244 h 701"/>
                <a:gd name="T28" fmla="*/ 579 w 647"/>
                <a:gd name="T29" fmla="*/ 249 h 701"/>
                <a:gd name="T30" fmla="*/ 625 w 647"/>
                <a:gd name="T31" fmla="*/ 468 h 701"/>
                <a:gd name="T32" fmla="*/ 617 w 647"/>
                <a:gd name="T33" fmla="*/ 526 h 701"/>
                <a:gd name="T34" fmla="*/ 534 w 647"/>
                <a:gd name="T35" fmla="*/ 594 h 701"/>
                <a:gd name="T36" fmla="*/ 586 w 647"/>
                <a:gd name="T37" fmla="*/ 661 h 701"/>
                <a:gd name="T38" fmla="*/ 586 w 647"/>
                <a:gd name="T39" fmla="*/ 666 h 701"/>
                <a:gd name="T40" fmla="*/ 564 w 647"/>
                <a:gd name="T41" fmla="*/ 676 h 701"/>
                <a:gd name="T42" fmla="*/ 306 w 647"/>
                <a:gd name="T43" fmla="*/ 571 h 701"/>
                <a:gd name="T44" fmla="*/ 303 w 647"/>
                <a:gd name="T45" fmla="*/ 560 h 701"/>
                <a:gd name="T46" fmla="*/ 302 w 647"/>
                <a:gd name="T47" fmla="*/ 575 h 701"/>
                <a:gd name="T48" fmla="*/ 303 w 647"/>
                <a:gd name="T49" fmla="*/ 596 h 701"/>
                <a:gd name="T50" fmla="*/ 283 w 647"/>
                <a:gd name="T51" fmla="*/ 607 h 701"/>
                <a:gd name="T52" fmla="*/ 333 w 647"/>
                <a:gd name="T53" fmla="*/ 540 h 701"/>
                <a:gd name="T54" fmla="*/ 283 w 647"/>
                <a:gd name="T55" fmla="*/ 607 h 701"/>
                <a:gd name="T56" fmla="*/ 301 w 647"/>
                <a:gd name="T57" fmla="*/ 635 h 701"/>
                <a:gd name="T58" fmla="*/ 289 w 647"/>
                <a:gd name="T59" fmla="*/ 623 h 701"/>
                <a:gd name="T60" fmla="*/ 307 w 647"/>
                <a:gd name="T61" fmla="*/ 639 h 701"/>
                <a:gd name="T62" fmla="*/ 352 w 647"/>
                <a:gd name="T63" fmla="*/ 524 h 701"/>
                <a:gd name="T64" fmla="*/ 527 w 647"/>
                <a:gd name="T65" fmla="*/ 353 h 701"/>
                <a:gd name="T66" fmla="*/ 578 w 647"/>
                <a:gd name="T67" fmla="*/ 264 h 701"/>
                <a:gd name="T68" fmla="*/ 527 w 647"/>
                <a:gd name="T69" fmla="*/ 353 h 701"/>
                <a:gd name="T70" fmla="*/ 519 w 647"/>
                <a:gd name="T71" fmla="*/ 356 h 701"/>
                <a:gd name="T72" fmla="*/ 528 w 647"/>
                <a:gd name="T73" fmla="*/ 314 h 701"/>
                <a:gd name="T74" fmla="*/ 516 w 647"/>
                <a:gd name="T75" fmla="*/ 310 h 701"/>
                <a:gd name="T76" fmla="*/ 518 w 647"/>
                <a:gd name="T77" fmla="*/ 357 h 701"/>
                <a:gd name="T78" fmla="*/ 374 w 647"/>
                <a:gd name="T79" fmla="*/ 525 h 701"/>
                <a:gd name="T80" fmla="*/ 366 w 647"/>
                <a:gd name="T81" fmla="*/ 510 h 701"/>
                <a:gd name="T82" fmla="*/ 387 w 647"/>
                <a:gd name="T83" fmla="*/ 505 h 701"/>
                <a:gd name="T84" fmla="*/ 394 w 647"/>
                <a:gd name="T85" fmla="*/ 479 h 701"/>
                <a:gd name="T86" fmla="*/ 387 w 647"/>
                <a:gd name="T87" fmla="*/ 505 h 701"/>
                <a:gd name="T88" fmla="*/ 258 w 647"/>
                <a:gd name="T89" fmla="*/ 506 h 701"/>
                <a:gd name="T90" fmla="*/ 226 w 647"/>
                <a:gd name="T91" fmla="*/ 406 h 701"/>
                <a:gd name="T92" fmla="*/ 228 w 647"/>
                <a:gd name="T93" fmla="*/ 363 h 701"/>
                <a:gd name="T94" fmla="*/ 231 w 647"/>
                <a:gd name="T95" fmla="*/ 349 h 701"/>
                <a:gd name="T96" fmla="*/ 310 w 647"/>
                <a:gd name="T97" fmla="*/ 227 h 701"/>
                <a:gd name="T98" fmla="*/ 358 w 647"/>
                <a:gd name="T99" fmla="*/ 200 h 701"/>
                <a:gd name="T100" fmla="*/ 462 w 647"/>
                <a:gd name="T101" fmla="*/ 190 h 701"/>
                <a:gd name="T102" fmla="*/ 476 w 647"/>
                <a:gd name="T103" fmla="*/ 180 h 701"/>
                <a:gd name="T104" fmla="*/ 269 w 647"/>
                <a:gd name="T105" fmla="*/ 246 h 701"/>
                <a:gd name="T106" fmla="*/ 245 w 647"/>
                <a:gd name="T107" fmla="*/ 277 h 701"/>
                <a:gd name="T108" fmla="*/ 217 w 647"/>
                <a:gd name="T109" fmla="*/ 345 h 701"/>
                <a:gd name="T110" fmla="*/ 253 w 647"/>
                <a:gd name="T111" fmla="*/ 527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47" h="701">
                  <a:moveTo>
                    <a:pt x="555" y="673"/>
                  </a:moveTo>
                  <a:lnTo>
                    <a:pt x="555" y="673"/>
                  </a:lnTo>
                  <a:cubicBezTo>
                    <a:pt x="549" y="670"/>
                    <a:pt x="537" y="667"/>
                    <a:pt x="524" y="663"/>
                  </a:cubicBezTo>
                  <a:cubicBezTo>
                    <a:pt x="525" y="670"/>
                    <a:pt x="526" y="677"/>
                    <a:pt x="527" y="682"/>
                  </a:cubicBezTo>
                  <a:cubicBezTo>
                    <a:pt x="536" y="680"/>
                    <a:pt x="546" y="677"/>
                    <a:pt x="555" y="673"/>
                  </a:cubicBezTo>
                  <a:lnTo>
                    <a:pt x="555" y="673"/>
                  </a:lnTo>
                  <a:close/>
                  <a:moveTo>
                    <a:pt x="524" y="657"/>
                  </a:moveTo>
                  <a:lnTo>
                    <a:pt x="524" y="657"/>
                  </a:lnTo>
                  <a:cubicBezTo>
                    <a:pt x="539" y="662"/>
                    <a:pt x="556" y="666"/>
                    <a:pt x="563" y="670"/>
                  </a:cubicBezTo>
                  <a:cubicBezTo>
                    <a:pt x="568" y="668"/>
                    <a:pt x="574" y="666"/>
                    <a:pt x="579" y="663"/>
                  </a:cubicBezTo>
                  <a:cubicBezTo>
                    <a:pt x="569" y="658"/>
                    <a:pt x="546" y="651"/>
                    <a:pt x="524" y="645"/>
                  </a:cubicBezTo>
                  <a:cubicBezTo>
                    <a:pt x="524" y="649"/>
                    <a:pt x="524" y="653"/>
                    <a:pt x="524" y="657"/>
                  </a:cubicBezTo>
                  <a:lnTo>
                    <a:pt x="524" y="657"/>
                  </a:lnTo>
                  <a:close/>
                  <a:moveTo>
                    <a:pt x="564" y="676"/>
                  </a:moveTo>
                  <a:lnTo>
                    <a:pt x="564" y="676"/>
                  </a:lnTo>
                  <a:cubicBezTo>
                    <a:pt x="563" y="676"/>
                    <a:pt x="563" y="676"/>
                    <a:pt x="563" y="676"/>
                  </a:cubicBezTo>
                  <a:cubicBezTo>
                    <a:pt x="546" y="683"/>
                    <a:pt x="528" y="688"/>
                    <a:pt x="511" y="692"/>
                  </a:cubicBezTo>
                  <a:cubicBezTo>
                    <a:pt x="511" y="692"/>
                    <a:pt x="510" y="692"/>
                    <a:pt x="510" y="692"/>
                  </a:cubicBezTo>
                  <a:cubicBezTo>
                    <a:pt x="494" y="695"/>
                    <a:pt x="478" y="697"/>
                    <a:pt x="463" y="698"/>
                  </a:cubicBezTo>
                  <a:cubicBezTo>
                    <a:pt x="462" y="698"/>
                    <a:pt x="462" y="698"/>
                    <a:pt x="462" y="698"/>
                  </a:cubicBezTo>
                  <a:cubicBezTo>
                    <a:pt x="410" y="701"/>
                    <a:pt x="361" y="691"/>
                    <a:pt x="324" y="675"/>
                  </a:cubicBezTo>
                  <a:lnTo>
                    <a:pt x="323" y="674"/>
                  </a:lnTo>
                  <a:cubicBezTo>
                    <a:pt x="323" y="674"/>
                    <a:pt x="322" y="674"/>
                    <a:pt x="322" y="674"/>
                  </a:cubicBezTo>
                  <a:cubicBezTo>
                    <a:pt x="260" y="645"/>
                    <a:pt x="232" y="594"/>
                    <a:pt x="293" y="552"/>
                  </a:cubicBezTo>
                  <a:cubicBezTo>
                    <a:pt x="286" y="542"/>
                    <a:pt x="278" y="532"/>
                    <a:pt x="270" y="522"/>
                  </a:cubicBezTo>
                  <a:cubicBezTo>
                    <a:pt x="267" y="518"/>
                    <a:pt x="265" y="515"/>
                    <a:pt x="262" y="511"/>
                  </a:cubicBezTo>
                  <a:cubicBezTo>
                    <a:pt x="257" y="524"/>
                    <a:pt x="257" y="532"/>
                    <a:pt x="265" y="544"/>
                  </a:cubicBezTo>
                  <a:cubicBezTo>
                    <a:pt x="266" y="545"/>
                    <a:pt x="265" y="546"/>
                    <a:pt x="265" y="547"/>
                  </a:cubicBezTo>
                  <a:lnTo>
                    <a:pt x="221" y="599"/>
                  </a:lnTo>
                  <a:cubicBezTo>
                    <a:pt x="220" y="601"/>
                    <a:pt x="218" y="601"/>
                    <a:pt x="217" y="599"/>
                  </a:cubicBezTo>
                  <a:cubicBezTo>
                    <a:pt x="0" y="361"/>
                    <a:pt x="247" y="0"/>
                    <a:pt x="546" y="104"/>
                  </a:cubicBezTo>
                  <a:cubicBezTo>
                    <a:pt x="548" y="105"/>
                    <a:pt x="549" y="106"/>
                    <a:pt x="548" y="108"/>
                  </a:cubicBezTo>
                  <a:lnTo>
                    <a:pt x="501" y="186"/>
                  </a:lnTo>
                  <a:cubicBezTo>
                    <a:pt x="500" y="187"/>
                    <a:pt x="499" y="188"/>
                    <a:pt x="498" y="187"/>
                  </a:cubicBezTo>
                  <a:cubicBezTo>
                    <a:pt x="483" y="185"/>
                    <a:pt x="474" y="186"/>
                    <a:pt x="468" y="192"/>
                  </a:cubicBezTo>
                  <a:cubicBezTo>
                    <a:pt x="482" y="194"/>
                    <a:pt x="496" y="197"/>
                    <a:pt x="510" y="202"/>
                  </a:cubicBezTo>
                  <a:cubicBezTo>
                    <a:pt x="523" y="188"/>
                    <a:pt x="536" y="175"/>
                    <a:pt x="551" y="163"/>
                  </a:cubicBezTo>
                  <a:cubicBezTo>
                    <a:pt x="551" y="163"/>
                    <a:pt x="551" y="163"/>
                    <a:pt x="552" y="163"/>
                  </a:cubicBezTo>
                  <a:cubicBezTo>
                    <a:pt x="552" y="162"/>
                    <a:pt x="553" y="162"/>
                    <a:pt x="554" y="163"/>
                  </a:cubicBezTo>
                  <a:cubicBezTo>
                    <a:pt x="555" y="163"/>
                    <a:pt x="555" y="163"/>
                    <a:pt x="556" y="164"/>
                  </a:cubicBezTo>
                  <a:cubicBezTo>
                    <a:pt x="556" y="164"/>
                    <a:pt x="556" y="165"/>
                    <a:pt x="556" y="165"/>
                  </a:cubicBezTo>
                  <a:lnTo>
                    <a:pt x="583" y="244"/>
                  </a:lnTo>
                  <a:cubicBezTo>
                    <a:pt x="583" y="245"/>
                    <a:pt x="583" y="245"/>
                    <a:pt x="583" y="246"/>
                  </a:cubicBezTo>
                  <a:cubicBezTo>
                    <a:pt x="583" y="247"/>
                    <a:pt x="582" y="247"/>
                    <a:pt x="582" y="247"/>
                  </a:cubicBezTo>
                  <a:cubicBezTo>
                    <a:pt x="581" y="248"/>
                    <a:pt x="580" y="249"/>
                    <a:pt x="579" y="249"/>
                  </a:cubicBezTo>
                  <a:cubicBezTo>
                    <a:pt x="585" y="266"/>
                    <a:pt x="623" y="382"/>
                    <a:pt x="635" y="413"/>
                  </a:cubicBezTo>
                  <a:cubicBezTo>
                    <a:pt x="639" y="423"/>
                    <a:pt x="647" y="441"/>
                    <a:pt x="647" y="452"/>
                  </a:cubicBezTo>
                  <a:cubicBezTo>
                    <a:pt x="647" y="462"/>
                    <a:pt x="640" y="467"/>
                    <a:pt x="625" y="468"/>
                  </a:cubicBezTo>
                  <a:cubicBezTo>
                    <a:pt x="617" y="475"/>
                    <a:pt x="616" y="478"/>
                    <a:pt x="620" y="483"/>
                  </a:cubicBezTo>
                  <a:cubicBezTo>
                    <a:pt x="628" y="494"/>
                    <a:pt x="624" y="499"/>
                    <a:pt x="615" y="506"/>
                  </a:cubicBezTo>
                  <a:cubicBezTo>
                    <a:pt x="624" y="513"/>
                    <a:pt x="622" y="526"/>
                    <a:pt x="617" y="526"/>
                  </a:cubicBezTo>
                  <a:cubicBezTo>
                    <a:pt x="611" y="526"/>
                    <a:pt x="609" y="528"/>
                    <a:pt x="605" y="533"/>
                  </a:cubicBezTo>
                  <a:cubicBezTo>
                    <a:pt x="633" y="560"/>
                    <a:pt x="610" y="583"/>
                    <a:pt x="573" y="591"/>
                  </a:cubicBezTo>
                  <a:cubicBezTo>
                    <a:pt x="562" y="594"/>
                    <a:pt x="548" y="595"/>
                    <a:pt x="534" y="594"/>
                  </a:cubicBezTo>
                  <a:cubicBezTo>
                    <a:pt x="534" y="594"/>
                    <a:pt x="534" y="594"/>
                    <a:pt x="534" y="595"/>
                  </a:cubicBezTo>
                  <a:cubicBezTo>
                    <a:pt x="529" y="610"/>
                    <a:pt x="526" y="625"/>
                    <a:pt x="525" y="639"/>
                  </a:cubicBezTo>
                  <a:cubicBezTo>
                    <a:pt x="549" y="646"/>
                    <a:pt x="578" y="655"/>
                    <a:pt x="586" y="661"/>
                  </a:cubicBezTo>
                  <a:cubicBezTo>
                    <a:pt x="586" y="661"/>
                    <a:pt x="587" y="662"/>
                    <a:pt x="587" y="662"/>
                  </a:cubicBezTo>
                  <a:cubicBezTo>
                    <a:pt x="587" y="663"/>
                    <a:pt x="588" y="663"/>
                    <a:pt x="587" y="664"/>
                  </a:cubicBezTo>
                  <a:cubicBezTo>
                    <a:pt x="587" y="665"/>
                    <a:pt x="587" y="665"/>
                    <a:pt x="586" y="666"/>
                  </a:cubicBezTo>
                  <a:cubicBezTo>
                    <a:pt x="586" y="666"/>
                    <a:pt x="586" y="666"/>
                    <a:pt x="585" y="666"/>
                  </a:cubicBezTo>
                  <a:cubicBezTo>
                    <a:pt x="578" y="670"/>
                    <a:pt x="571" y="673"/>
                    <a:pt x="564" y="676"/>
                  </a:cubicBezTo>
                  <a:lnTo>
                    <a:pt x="564" y="676"/>
                  </a:lnTo>
                  <a:close/>
                  <a:moveTo>
                    <a:pt x="306" y="570"/>
                  </a:moveTo>
                  <a:lnTo>
                    <a:pt x="306" y="570"/>
                  </a:lnTo>
                  <a:cubicBezTo>
                    <a:pt x="306" y="570"/>
                    <a:pt x="306" y="570"/>
                    <a:pt x="306" y="571"/>
                  </a:cubicBezTo>
                  <a:cubicBezTo>
                    <a:pt x="308" y="577"/>
                    <a:pt x="309" y="584"/>
                    <a:pt x="309" y="592"/>
                  </a:cubicBezTo>
                  <a:cubicBezTo>
                    <a:pt x="326" y="581"/>
                    <a:pt x="321" y="561"/>
                    <a:pt x="316" y="552"/>
                  </a:cubicBezTo>
                  <a:cubicBezTo>
                    <a:pt x="312" y="555"/>
                    <a:pt x="307" y="558"/>
                    <a:pt x="303" y="560"/>
                  </a:cubicBezTo>
                  <a:cubicBezTo>
                    <a:pt x="304" y="563"/>
                    <a:pt x="305" y="566"/>
                    <a:pt x="306" y="570"/>
                  </a:cubicBezTo>
                  <a:lnTo>
                    <a:pt x="306" y="570"/>
                  </a:lnTo>
                  <a:close/>
                  <a:moveTo>
                    <a:pt x="302" y="575"/>
                  </a:moveTo>
                  <a:lnTo>
                    <a:pt x="302" y="575"/>
                  </a:lnTo>
                  <a:cubicBezTo>
                    <a:pt x="289" y="583"/>
                    <a:pt x="284" y="592"/>
                    <a:pt x="283" y="601"/>
                  </a:cubicBezTo>
                  <a:cubicBezTo>
                    <a:pt x="291" y="600"/>
                    <a:pt x="297" y="598"/>
                    <a:pt x="303" y="596"/>
                  </a:cubicBezTo>
                  <a:cubicBezTo>
                    <a:pt x="303" y="588"/>
                    <a:pt x="303" y="581"/>
                    <a:pt x="302" y="575"/>
                  </a:cubicBezTo>
                  <a:lnTo>
                    <a:pt x="302" y="575"/>
                  </a:lnTo>
                  <a:close/>
                  <a:moveTo>
                    <a:pt x="283" y="607"/>
                  </a:moveTo>
                  <a:lnTo>
                    <a:pt x="283" y="607"/>
                  </a:lnTo>
                  <a:cubicBezTo>
                    <a:pt x="283" y="610"/>
                    <a:pt x="284" y="614"/>
                    <a:pt x="286" y="617"/>
                  </a:cubicBezTo>
                  <a:cubicBezTo>
                    <a:pt x="325" y="617"/>
                    <a:pt x="354" y="578"/>
                    <a:pt x="333" y="540"/>
                  </a:cubicBezTo>
                  <a:cubicBezTo>
                    <a:pt x="329" y="543"/>
                    <a:pt x="325" y="546"/>
                    <a:pt x="321" y="549"/>
                  </a:cubicBezTo>
                  <a:cubicBezTo>
                    <a:pt x="329" y="563"/>
                    <a:pt x="335" y="601"/>
                    <a:pt x="283" y="607"/>
                  </a:cubicBezTo>
                  <a:lnTo>
                    <a:pt x="283" y="607"/>
                  </a:lnTo>
                  <a:close/>
                  <a:moveTo>
                    <a:pt x="289" y="623"/>
                  </a:moveTo>
                  <a:lnTo>
                    <a:pt x="289" y="623"/>
                  </a:lnTo>
                  <a:cubicBezTo>
                    <a:pt x="292" y="627"/>
                    <a:pt x="296" y="631"/>
                    <a:pt x="301" y="635"/>
                  </a:cubicBezTo>
                  <a:cubicBezTo>
                    <a:pt x="358" y="619"/>
                    <a:pt x="370" y="571"/>
                    <a:pt x="348" y="528"/>
                  </a:cubicBezTo>
                  <a:cubicBezTo>
                    <a:pt x="344" y="531"/>
                    <a:pt x="341" y="533"/>
                    <a:pt x="338" y="536"/>
                  </a:cubicBezTo>
                  <a:cubicBezTo>
                    <a:pt x="362" y="578"/>
                    <a:pt x="330" y="620"/>
                    <a:pt x="289" y="623"/>
                  </a:cubicBezTo>
                  <a:lnTo>
                    <a:pt x="289" y="623"/>
                  </a:lnTo>
                  <a:close/>
                  <a:moveTo>
                    <a:pt x="307" y="639"/>
                  </a:moveTo>
                  <a:lnTo>
                    <a:pt x="307" y="639"/>
                  </a:lnTo>
                  <a:cubicBezTo>
                    <a:pt x="312" y="643"/>
                    <a:pt x="318" y="645"/>
                    <a:pt x="325" y="647"/>
                  </a:cubicBezTo>
                  <a:cubicBezTo>
                    <a:pt x="395" y="612"/>
                    <a:pt x="378" y="539"/>
                    <a:pt x="362" y="514"/>
                  </a:cubicBezTo>
                  <a:cubicBezTo>
                    <a:pt x="359" y="517"/>
                    <a:pt x="355" y="521"/>
                    <a:pt x="352" y="524"/>
                  </a:cubicBezTo>
                  <a:cubicBezTo>
                    <a:pt x="376" y="569"/>
                    <a:pt x="365" y="620"/>
                    <a:pt x="307" y="639"/>
                  </a:cubicBezTo>
                  <a:lnTo>
                    <a:pt x="307" y="639"/>
                  </a:lnTo>
                  <a:close/>
                  <a:moveTo>
                    <a:pt x="527" y="353"/>
                  </a:moveTo>
                  <a:lnTo>
                    <a:pt x="527" y="353"/>
                  </a:lnTo>
                  <a:cubicBezTo>
                    <a:pt x="552" y="343"/>
                    <a:pt x="582" y="339"/>
                    <a:pt x="606" y="346"/>
                  </a:cubicBezTo>
                  <a:cubicBezTo>
                    <a:pt x="595" y="315"/>
                    <a:pt x="584" y="282"/>
                    <a:pt x="578" y="264"/>
                  </a:cubicBezTo>
                  <a:cubicBezTo>
                    <a:pt x="578" y="295"/>
                    <a:pt x="563" y="325"/>
                    <a:pt x="532" y="338"/>
                  </a:cubicBezTo>
                  <a:cubicBezTo>
                    <a:pt x="531" y="343"/>
                    <a:pt x="529" y="348"/>
                    <a:pt x="527" y="353"/>
                  </a:cubicBezTo>
                  <a:lnTo>
                    <a:pt x="527" y="353"/>
                  </a:lnTo>
                  <a:close/>
                  <a:moveTo>
                    <a:pt x="518" y="357"/>
                  </a:moveTo>
                  <a:lnTo>
                    <a:pt x="518" y="357"/>
                  </a:lnTo>
                  <a:cubicBezTo>
                    <a:pt x="518" y="357"/>
                    <a:pt x="518" y="357"/>
                    <a:pt x="519" y="356"/>
                  </a:cubicBezTo>
                  <a:cubicBezTo>
                    <a:pt x="523" y="350"/>
                    <a:pt x="525" y="343"/>
                    <a:pt x="527" y="336"/>
                  </a:cubicBezTo>
                  <a:cubicBezTo>
                    <a:pt x="527" y="335"/>
                    <a:pt x="527" y="335"/>
                    <a:pt x="527" y="335"/>
                  </a:cubicBezTo>
                  <a:cubicBezTo>
                    <a:pt x="528" y="328"/>
                    <a:pt x="529" y="321"/>
                    <a:pt x="528" y="314"/>
                  </a:cubicBezTo>
                  <a:cubicBezTo>
                    <a:pt x="528" y="314"/>
                    <a:pt x="528" y="314"/>
                    <a:pt x="528" y="313"/>
                  </a:cubicBezTo>
                  <a:cubicBezTo>
                    <a:pt x="528" y="308"/>
                    <a:pt x="527" y="303"/>
                    <a:pt x="526" y="298"/>
                  </a:cubicBezTo>
                  <a:cubicBezTo>
                    <a:pt x="523" y="302"/>
                    <a:pt x="519" y="306"/>
                    <a:pt x="516" y="310"/>
                  </a:cubicBezTo>
                  <a:cubicBezTo>
                    <a:pt x="517" y="328"/>
                    <a:pt x="513" y="348"/>
                    <a:pt x="494" y="365"/>
                  </a:cubicBezTo>
                  <a:cubicBezTo>
                    <a:pt x="495" y="371"/>
                    <a:pt x="495" y="377"/>
                    <a:pt x="494" y="382"/>
                  </a:cubicBezTo>
                  <a:cubicBezTo>
                    <a:pt x="505" y="374"/>
                    <a:pt x="513" y="366"/>
                    <a:pt x="518" y="357"/>
                  </a:cubicBezTo>
                  <a:lnTo>
                    <a:pt x="518" y="357"/>
                  </a:lnTo>
                  <a:close/>
                  <a:moveTo>
                    <a:pt x="374" y="525"/>
                  </a:moveTo>
                  <a:lnTo>
                    <a:pt x="374" y="525"/>
                  </a:lnTo>
                  <a:cubicBezTo>
                    <a:pt x="375" y="519"/>
                    <a:pt x="378" y="513"/>
                    <a:pt x="383" y="509"/>
                  </a:cubicBezTo>
                  <a:cubicBezTo>
                    <a:pt x="381" y="505"/>
                    <a:pt x="379" y="501"/>
                    <a:pt x="379" y="497"/>
                  </a:cubicBezTo>
                  <a:cubicBezTo>
                    <a:pt x="375" y="501"/>
                    <a:pt x="370" y="506"/>
                    <a:pt x="366" y="510"/>
                  </a:cubicBezTo>
                  <a:cubicBezTo>
                    <a:pt x="369" y="514"/>
                    <a:pt x="371" y="519"/>
                    <a:pt x="374" y="525"/>
                  </a:cubicBezTo>
                  <a:lnTo>
                    <a:pt x="374" y="525"/>
                  </a:lnTo>
                  <a:close/>
                  <a:moveTo>
                    <a:pt x="387" y="505"/>
                  </a:moveTo>
                  <a:lnTo>
                    <a:pt x="387" y="505"/>
                  </a:lnTo>
                  <a:cubicBezTo>
                    <a:pt x="391" y="503"/>
                    <a:pt x="394" y="501"/>
                    <a:pt x="399" y="500"/>
                  </a:cubicBezTo>
                  <a:cubicBezTo>
                    <a:pt x="396" y="494"/>
                    <a:pt x="394" y="487"/>
                    <a:pt x="394" y="479"/>
                  </a:cubicBezTo>
                  <a:cubicBezTo>
                    <a:pt x="390" y="483"/>
                    <a:pt x="387" y="487"/>
                    <a:pt x="383" y="491"/>
                  </a:cubicBezTo>
                  <a:cubicBezTo>
                    <a:pt x="384" y="496"/>
                    <a:pt x="385" y="501"/>
                    <a:pt x="387" y="505"/>
                  </a:cubicBezTo>
                  <a:lnTo>
                    <a:pt x="387" y="505"/>
                  </a:lnTo>
                  <a:close/>
                  <a:moveTo>
                    <a:pt x="253" y="527"/>
                  </a:moveTo>
                  <a:lnTo>
                    <a:pt x="253" y="527"/>
                  </a:lnTo>
                  <a:cubicBezTo>
                    <a:pt x="253" y="520"/>
                    <a:pt x="255" y="513"/>
                    <a:pt x="258" y="506"/>
                  </a:cubicBezTo>
                  <a:cubicBezTo>
                    <a:pt x="244" y="485"/>
                    <a:pt x="232" y="458"/>
                    <a:pt x="227" y="419"/>
                  </a:cubicBezTo>
                  <a:cubicBezTo>
                    <a:pt x="227" y="418"/>
                    <a:pt x="227" y="418"/>
                    <a:pt x="227" y="418"/>
                  </a:cubicBezTo>
                  <a:cubicBezTo>
                    <a:pt x="227" y="414"/>
                    <a:pt x="227" y="410"/>
                    <a:pt x="226" y="406"/>
                  </a:cubicBezTo>
                  <a:cubicBezTo>
                    <a:pt x="226" y="406"/>
                    <a:pt x="226" y="406"/>
                    <a:pt x="226" y="405"/>
                  </a:cubicBezTo>
                  <a:cubicBezTo>
                    <a:pt x="226" y="404"/>
                    <a:pt x="226" y="403"/>
                    <a:pt x="226" y="401"/>
                  </a:cubicBezTo>
                  <a:cubicBezTo>
                    <a:pt x="226" y="388"/>
                    <a:pt x="226" y="375"/>
                    <a:pt x="228" y="363"/>
                  </a:cubicBezTo>
                  <a:cubicBezTo>
                    <a:pt x="228" y="362"/>
                    <a:pt x="229" y="362"/>
                    <a:pt x="229" y="362"/>
                  </a:cubicBezTo>
                  <a:cubicBezTo>
                    <a:pt x="229" y="358"/>
                    <a:pt x="230" y="354"/>
                    <a:pt x="231" y="350"/>
                  </a:cubicBezTo>
                  <a:cubicBezTo>
                    <a:pt x="231" y="350"/>
                    <a:pt x="231" y="349"/>
                    <a:pt x="231" y="349"/>
                  </a:cubicBezTo>
                  <a:cubicBezTo>
                    <a:pt x="239" y="313"/>
                    <a:pt x="258" y="278"/>
                    <a:pt x="284" y="250"/>
                  </a:cubicBezTo>
                  <a:cubicBezTo>
                    <a:pt x="284" y="250"/>
                    <a:pt x="284" y="249"/>
                    <a:pt x="284" y="249"/>
                  </a:cubicBezTo>
                  <a:cubicBezTo>
                    <a:pt x="292" y="241"/>
                    <a:pt x="301" y="234"/>
                    <a:pt x="310" y="227"/>
                  </a:cubicBezTo>
                  <a:lnTo>
                    <a:pt x="310" y="227"/>
                  </a:lnTo>
                  <a:cubicBezTo>
                    <a:pt x="324" y="216"/>
                    <a:pt x="340" y="207"/>
                    <a:pt x="358" y="201"/>
                  </a:cubicBezTo>
                  <a:cubicBezTo>
                    <a:pt x="358" y="200"/>
                    <a:pt x="358" y="200"/>
                    <a:pt x="358" y="200"/>
                  </a:cubicBezTo>
                  <a:cubicBezTo>
                    <a:pt x="379" y="192"/>
                    <a:pt x="403" y="188"/>
                    <a:pt x="428" y="188"/>
                  </a:cubicBezTo>
                  <a:cubicBezTo>
                    <a:pt x="430" y="188"/>
                    <a:pt x="431" y="188"/>
                    <a:pt x="433" y="188"/>
                  </a:cubicBezTo>
                  <a:cubicBezTo>
                    <a:pt x="442" y="188"/>
                    <a:pt x="452" y="189"/>
                    <a:pt x="462" y="190"/>
                  </a:cubicBezTo>
                  <a:cubicBezTo>
                    <a:pt x="466" y="185"/>
                    <a:pt x="471" y="182"/>
                    <a:pt x="478" y="181"/>
                  </a:cubicBezTo>
                  <a:cubicBezTo>
                    <a:pt x="477" y="181"/>
                    <a:pt x="477" y="180"/>
                    <a:pt x="476" y="180"/>
                  </a:cubicBezTo>
                  <a:cubicBezTo>
                    <a:pt x="476" y="180"/>
                    <a:pt x="476" y="180"/>
                    <a:pt x="476" y="180"/>
                  </a:cubicBezTo>
                  <a:cubicBezTo>
                    <a:pt x="464" y="177"/>
                    <a:pt x="451" y="175"/>
                    <a:pt x="439" y="174"/>
                  </a:cubicBezTo>
                  <a:lnTo>
                    <a:pt x="439" y="174"/>
                  </a:lnTo>
                  <a:cubicBezTo>
                    <a:pt x="374" y="170"/>
                    <a:pt x="312" y="198"/>
                    <a:pt x="269" y="246"/>
                  </a:cubicBezTo>
                  <a:lnTo>
                    <a:pt x="269" y="246"/>
                  </a:lnTo>
                  <a:cubicBezTo>
                    <a:pt x="260" y="256"/>
                    <a:pt x="252" y="266"/>
                    <a:pt x="245" y="277"/>
                  </a:cubicBezTo>
                  <a:cubicBezTo>
                    <a:pt x="245" y="277"/>
                    <a:pt x="245" y="277"/>
                    <a:pt x="245" y="277"/>
                  </a:cubicBezTo>
                  <a:cubicBezTo>
                    <a:pt x="238" y="288"/>
                    <a:pt x="233" y="298"/>
                    <a:pt x="228" y="310"/>
                  </a:cubicBezTo>
                  <a:cubicBezTo>
                    <a:pt x="228" y="310"/>
                    <a:pt x="228" y="310"/>
                    <a:pt x="228" y="310"/>
                  </a:cubicBezTo>
                  <a:cubicBezTo>
                    <a:pt x="223" y="321"/>
                    <a:pt x="219" y="333"/>
                    <a:pt x="217" y="345"/>
                  </a:cubicBezTo>
                  <a:cubicBezTo>
                    <a:pt x="206" y="391"/>
                    <a:pt x="210" y="442"/>
                    <a:pt x="235" y="494"/>
                  </a:cubicBezTo>
                  <a:lnTo>
                    <a:pt x="235" y="494"/>
                  </a:lnTo>
                  <a:cubicBezTo>
                    <a:pt x="240" y="505"/>
                    <a:pt x="246" y="516"/>
                    <a:pt x="253" y="527"/>
                  </a:cubicBezTo>
                  <a:lnTo>
                    <a:pt x="253" y="527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6F7543C3-A514-4E8E-889C-9D262B1349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02209" y="610658"/>
              <a:ext cx="1066801" cy="514349"/>
            </a:xfrm>
            <a:custGeom>
              <a:avLst/>
              <a:gdLst>
                <a:gd name="T0" fmla="*/ 44 w 986"/>
                <a:gd name="T1" fmla="*/ 12 h 469"/>
                <a:gd name="T2" fmla="*/ 100 w 986"/>
                <a:gd name="T3" fmla="*/ 110 h 469"/>
                <a:gd name="T4" fmla="*/ 112 w 986"/>
                <a:gd name="T5" fmla="*/ 49 h 469"/>
                <a:gd name="T6" fmla="*/ 238 w 986"/>
                <a:gd name="T7" fmla="*/ 9 h 469"/>
                <a:gd name="T8" fmla="*/ 265 w 986"/>
                <a:gd name="T9" fmla="*/ 94 h 469"/>
                <a:gd name="T10" fmla="*/ 297 w 986"/>
                <a:gd name="T11" fmla="*/ 110 h 469"/>
                <a:gd name="T12" fmla="*/ 368 w 986"/>
                <a:gd name="T13" fmla="*/ 2 h 469"/>
                <a:gd name="T14" fmla="*/ 431 w 986"/>
                <a:gd name="T15" fmla="*/ 0 h 469"/>
                <a:gd name="T16" fmla="*/ 506 w 986"/>
                <a:gd name="T17" fmla="*/ 2 h 469"/>
                <a:gd name="T18" fmla="*/ 562 w 986"/>
                <a:gd name="T19" fmla="*/ 110 h 469"/>
                <a:gd name="T20" fmla="*/ 595 w 986"/>
                <a:gd name="T21" fmla="*/ 104 h 469"/>
                <a:gd name="T22" fmla="*/ 653 w 986"/>
                <a:gd name="T23" fmla="*/ 16 h 469"/>
                <a:gd name="T24" fmla="*/ 623 w 986"/>
                <a:gd name="T25" fmla="*/ 103 h 469"/>
                <a:gd name="T26" fmla="*/ 741 w 986"/>
                <a:gd name="T27" fmla="*/ 112 h 469"/>
                <a:gd name="T28" fmla="*/ 805 w 986"/>
                <a:gd name="T29" fmla="*/ 2 h 469"/>
                <a:gd name="T30" fmla="*/ 887 w 986"/>
                <a:gd name="T31" fmla="*/ 110 h 469"/>
                <a:gd name="T32" fmla="*/ 805 w 986"/>
                <a:gd name="T33" fmla="*/ 2 h 469"/>
                <a:gd name="T34" fmla="*/ 938 w 986"/>
                <a:gd name="T35" fmla="*/ 59 h 469"/>
                <a:gd name="T36" fmla="*/ 926 w 986"/>
                <a:gd name="T37" fmla="*/ 2 h 469"/>
                <a:gd name="T38" fmla="*/ 54 w 986"/>
                <a:gd name="T39" fmla="*/ 281 h 469"/>
                <a:gd name="T40" fmla="*/ 96 w 986"/>
                <a:gd name="T41" fmla="*/ 251 h 469"/>
                <a:gd name="T42" fmla="*/ 205 w 986"/>
                <a:gd name="T43" fmla="*/ 291 h 469"/>
                <a:gd name="T44" fmla="*/ 256 w 986"/>
                <a:gd name="T45" fmla="*/ 288 h 469"/>
                <a:gd name="T46" fmla="*/ 303 w 986"/>
                <a:gd name="T47" fmla="*/ 179 h 469"/>
                <a:gd name="T48" fmla="*/ 303 w 986"/>
                <a:gd name="T49" fmla="*/ 179 h 469"/>
                <a:gd name="T50" fmla="*/ 421 w 986"/>
                <a:gd name="T51" fmla="*/ 278 h 469"/>
                <a:gd name="T52" fmla="*/ 467 w 986"/>
                <a:gd name="T53" fmla="*/ 180 h 469"/>
                <a:gd name="T54" fmla="*/ 525 w 986"/>
                <a:gd name="T55" fmla="*/ 190 h 469"/>
                <a:gd name="T56" fmla="*/ 495 w 986"/>
                <a:gd name="T57" fmla="*/ 288 h 469"/>
                <a:gd name="T58" fmla="*/ 575 w 986"/>
                <a:gd name="T59" fmla="*/ 285 h 469"/>
                <a:gd name="T60" fmla="*/ 618 w 986"/>
                <a:gd name="T61" fmla="*/ 282 h 469"/>
                <a:gd name="T62" fmla="*/ 620 w 986"/>
                <a:gd name="T63" fmla="*/ 227 h 469"/>
                <a:gd name="T64" fmla="*/ 625 w 986"/>
                <a:gd name="T65" fmla="*/ 241 h 469"/>
                <a:gd name="T66" fmla="*/ 697 w 986"/>
                <a:gd name="T67" fmla="*/ 180 h 469"/>
                <a:gd name="T68" fmla="*/ 752 w 986"/>
                <a:gd name="T69" fmla="*/ 288 h 469"/>
                <a:gd name="T70" fmla="*/ 851 w 986"/>
                <a:gd name="T71" fmla="*/ 191 h 469"/>
                <a:gd name="T72" fmla="*/ 900 w 986"/>
                <a:gd name="T73" fmla="*/ 287 h 469"/>
                <a:gd name="T74" fmla="*/ 888 w 986"/>
                <a:gd name="T75" fmla="*/ 291 h 469"/>
                <a:gd name="T76" fmla="*/ 871 w 986"/>
                <a:gd name="T77" fmla="*/ 174 h 469"/>
                <a:gd name="T78" fmla="*/ 820 w 986"/>
                <a:gd name="T79" fmla="*/ 188 h 469"/>
                <a:gd name="T80" fmla="*/ 954 w 986"/>
                <a:gd name="T81" fmla="*/ 190 h 469"/>
                <a:gd name="T82" fmla="*/ 25 w 986"/>
                <a:gd name="T83" fmla="*/ 457 h 469"/>
                <a:gd name="T84" fmla="*/ 46 w 986"/>
                <a:gd name="T85" fmla="*/ 359 h 469"/>
                <a:gd name="T86" fmla="*/ 171 w 986"/>
                <a:gd name="T87" fmla="*/ 369 h 469"/>
                <a:gd name="T88" fmla="*/ 220 w 986"/>
                <a:gd name="T89" fmla="*/ 465 h 469"/>
                <a:gd name="T90" fmla="*/ 208 w 986"/>
                <a:gd name="T91" fmla="*/ 469 h 469"/>
                <a:gd name="T92" fmla="*/ 278 w 986"/>
                <a:gd name="T93" fmla="*/ 368 h 469"/>
                <a:gd name="T94" fmla="*/ 249 w 986"/>
                <a:gd name="T95" fmla="*/ 467 h 469"/>
                <a:gd name="T96" fmla="*/ 328 w 986"/>
                <a:gd name="T97" fmla="*/ 463 h 469"/>
                <a:gd name="T98" fmla="*/ 394 w 986"/>
                <a:gd name="T99" fmla="*/ 359 h 469"/>
                <a:gd name="T100" fmla="*/ 429 w 986"/>
                <a:gd name="T101" fmla="*/ 466 h 469"/>
                <a:gd name="T102" fmla="*/ 394 w 986"/>
                <a:gd name="T103" fmla="*/ 359 h 469"/>
                <a:gd name="T104" fmla="*/ 579 w 986"/>
                <a:gd name="T105" fmla="*/ 438 h 469"/>
                <a:gd name="T106" fmla="*/ 551 w 986"/>
                <a:gd name="T107" fmla="*/ 357 h 469"/>
                <a:gd name="T108" fmla="*/ 599 w 986"/>
                <a:gd name="T109" fmla="*/ 359 h 469"/>
                <a:gd name="T110" fmla="*/ 675 w 986"/>
                <a:gd name="T111" fmla="*/ 359 h 469"/>
                <a:gd name="T112" fmla="*/ 731 w 986"/>
                <a:gd name="T113" fmla="*/ 370 h 469"/>
                <a:gd name="T114" fmla="*/ 693 w 986"/>
                <a:gd name="T115" fmla="*/ 469 h 469"/>
                <a:gd name="T116" fmla="*/ 832 w 986"/>
                <a:gd name="T117" fmla="*/ 457 h 469"/>
                <a:gd name="T118" fmla="*/ 837 w 986"/>
                <a:gd name="T119" fmla="*/ 359 h 469"/>
                <a:gd name="T120" fmla="*/ 837 w 986"/>
                <a:gd name="T121" fmla="*/ 359 h 469"/>
                <a:gd name="T122" fmla="*/ 954 w 986"/>
                <a:gd name="T123" fmla="*/ 3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6" h="469">
                  <a:moveTo>
                    <a:pt x="0" y="2"/>
                  </a:moveTo>
                  <a:lnTo>
                    <a:pt x="0" y="2"/>
                  </a:lnTo>
                  <a:lnTo>
                    <a:pt x="0" y="12"/>
                  </a:lnTo>
                  <a:lnTo>
                    <a:pt x="32" y="12"/>
                  </a:lnTo>
                  <a:lnTo>
                    <a:pt x="32" y="110"/>
                  </a:lnTo>
                  <a:lnTo>
                    <a:pt x="44" y="110"/>
                  </a:lnTo>
                  <a:lnTo>
                    <a:pt x="44" y="12"/>
                  </a:lnTo>
                  <a:lnTo>
                    <a:pt x="76" y="12"/>
                  </a:lnTo>
                  <a:lnTo>
                    <a:pt x="76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100" y="2"/>
                  </a:moveTo>
                  <a:lnTo>
                    <a:pt x="100" y="2"/>
                  </a:lnTo>
                  <a:lnTo>
                    <a:pt x="100" y="110"/>
                  </a:lnTo>
                  <a:lnTo>
                    <a:pt x="158" y="110"/>
                  </a:lnTo>
                  <a:lnTo>
                    <a:pt x="158" y="100"/>
                  </a:lnTo>
                  <a:lnTo>
                    <a:pt x="112" y="100"/>
                  </a:lnTo>
                  <a:lnTo>
                    <a:pt x="112" y="59"/>
                  </a:lnTo>
                  <a:lnTo>
                    <a:pt x="154" y="59"/>
                  </a:lnTo>
                  <a:lnTo>
                    <a:pt x="154" y="49"/>
                  </a:lnTo>
                  <a:lnTo>
                    <a:pt x="112" y="49"/>
                  </a:lnTo>
                  <a:lnTo>
                    <a:pt x="112" y="12"/>
                  </a:lnTo>
                  <a:lnTo>
                    <a:pt x="158" y="12"/>
                  </a:lnTo>
                  <a:lnTo>
                    <a:pt x="158" y="2"/>
                  </a:lnTo>
                  <a:lnTo>
                    <a:pt x="100" y="2"/>
                  </a:lnTo>
                  <a:lnTo>
                    <a:pt x="100" y="2"/>
                  </a:lnTo>
                  <a:close/>
                  <a:moveTo>
                    <a:pt x="238" y="9"/>
                  </a:moveTo>
                  <a:lnTo>
                    <a:pt x="238" y="9"/>
                  </a:lnTo>
                  <a:cubicBezTo>
                    <a:pt x="248" y="9"/>
                    <a:pt x="257" y="11"/>
                    <a:pt x="266" y="17"/>
                  </a:cubicBezTo>
                  <a:lnTo>
                    <a:pt x="270" y="8"/>
                  </a:lnTo>
                  <a:cubicBezTo>
                    <a:pt x="260" y="3"/>
                    <a:pt x="250" y="0"/>
                    <a:pt x="238" y="0"/>
                  </a:cubicBezTo>
                  <a:cubicBezTo>
                    <a:pt x="206" y="0"/>
                    <a:pt x="181" y="23"/>
                    <a:pt x="181" y="56"/>
                  </a:cubicBezTo>
                  <a:cubicBezTo>
                    <a:pt x="181" y="91"/>
                    <a:pt x="206" y="112"/>
                    <a:pt x="238" y="112"/>
                  </a:cubicBezTo>
                  <a:cubicBezTo>
                    <a:pt x="248" y="112"/>
                    <a:pt x="260" y="107"/>
                    <a:pt x="270" y="102"/>
                  </a:cubicBezTo>
                  <a:lnTo>
                    <a:pt x="265" y="94"/>
                  </a:lnTo>
                  <a:cubicBezTo>
                    <a:pt x="257" y="99"/>
                    <a:pt x="247" y="102"/>
                    <a:pt x="238" y="102"/>
                  </a:cubicBezTo>
                  <a:cubicBezTo>
                    <a:pt x="211" y="102"/>
                    <a:pt x="193" y="82"/>
                    <a:pt x="193" y="56"/>
                  </a:cubicBezTo>
                  <a:cubicBezTo>
                    <a:pt x="193" y="30"/>
                    <a:pt x="211" y="9"/>
                    <a:pt x="238" y="9"/>
                  </a:cubicBezTo>
                  <a:lnTo>
                    <a:pt x="238" y="9"/>
                  </a:lnTo>
                  <a:close/>
                  <a:moveTo>
                    <a:pt x="297" y="2"/>
                  </a:moveTo>
                  <a:lnTo>
                    <a:pt x="297" y="2"/>
                  </a:lnTo>
                  <a:lnTo>
                    <a:pt x="297" y="110"/>
                  </a:lnTo>
                  <a:lnTo>
                    <a:pt x="309" y="110"/>
                  </a:lnTo>
                  <a:lnTo>
                    <a:pt x="309" y="58"/>
                  </a:lnTo>
                  <a:lnTo>
                    <a:pt x="368" y="58"/>
                  </a:lnTo>
                  <a:lnTo>
                    <a:pt x="368" y="110"/>
                  </a:lnTo>
                  <a:lnTo>
                    <a:pt x="380" y="110"/>
                  </a:lnTo>
                  <a:lnTo>
                    <a:pt x="380" y="2"/>
                  </a:lnTo>
                  <a:lnTo>
                    <a:pt x="368" y="2"/>
                  </a:lnTo>
                  <a:lnTo>
                    <a:pt x="368" y="49"/>
                  </a:lnTo>
                  <a:lnTo>
                    <a:pt x="309" y="49"/>
                  </a:lnTo>
                  <a:lnTo>
                    <a:pt x="309" y="2"/>
                  </a:lnTo>
                  <a:lnTo>
                    <a:pt x="297" y="2"/>
                  </a:lnTo>
                  <a:lnTo>
                    <a:pt x="297" y="2"/>
                  </a:lnTo>
                  <a:close/>
                  <a:moveTo>
                    <a:pt x="431" y="0"/>
                  </a:moveTo>
                  <a:lnTo>
                    <a:pt x="431" y="0"/>
                  </a:lnTo>
                  <a:lnTo>
                    <a:pt x="418" y="3"/>
                  </a:lnTo>
                  <a:lnTo>
                    <a:pt x="418" y="110"/>
                  </a:lnTo>
                  <a:lnTo>
                    <a:pt x="430" y="110"/>
                  </a:lnTo>
                  <a:lnTo>
                    <a:pt x="430" y="18"/>
                  </a:lnTo>
                  <a:lnTo>
                    <a:pt x="493" y="112"/>
                  </a:lnTo>
                  <a:lnTo>
                    <a:pt x="506" y="109"/>
                  </a:lnTo>
                  <a:lnTo>
                    <a:pt x="506" y="2"/>
                  </a:lnTo>
                  <a:lnTo>
                    <a:pt x="495" y="2"/>
                  </a:lnTo>
                  <a:lnTo>
                    <a:pt x="495" y="95"/>
                  </a:lnTo>
                  <a:lnTo>
                    <a:pt x="431" y="0"/>
                  </a:lnTo>
                  <a:lnTo>
                    <a:pt x="431" y="0"/>
                  </a:lnTo>
                  <a:close/>
                  <a:moveTo>
                    <a:pt x="550" y="110"/>
                  </a:moveTo>
                  <a:lnTo>
                    <a:pt x="550" y="110"/>
                  </a:lnTo>
                  <a:lnTo>
                    <a:pt x="562" y="110"/>
                  </a:lnTo>
                  <a:lnTo>
                    <a:pt x="562" y="2"/>
                  </a:lnTo>
                  <a:lnTo>
                    <a:pt x="550" y="2"/>
                  </a:lnTo>
                  <a:lnTo>
                    <a:pt x="550" y="110"/>
                  </a:lnTo>
                  <a:close/>
                  <a:moveTo>
                    <a:pt x="623" y="103"/>
                  </a:moveTo>
                  <a:lnTo>
                    <a:pt x="623" y="103"/>
                  </a:lnTo>
                  <a:cubicBezTo>
                    <a:pt x="615" y="103"/>
                    <a:pt x="606" y="100"/>
                    <a:pt x="600" y="96"/>
                  </a:cubicBezTo>
                  <a:lnTo>
                    <a:pt x="595" y="104"/>
                  </a:lnTo>
                  <a:cubicBezTo>
                    <a:pt x="604" y="109"/>
                    <a:pt x="613" y="112"/>
                    <a:pt x="624" y="112"/>
                  </a:cubicBezTo>
                  <a:cubicBezTo>
                    <a:pt x="647" y="112"/>
                    <a:pt x="658" y="97"/>
                    <a:pt x="658" y="81"/>
                  </a:cubicBezTo>
                  <a:cubicBezTo>
                    <a:pt x="658" y="65"/>
                    <a:pt x="646" y="58"/>
                    <a:pt x="634" y="52"/>
                  </a:cubicBezTo>
                  <a:lnTo>
                    <a:pt x="625" y="48"/>
                  </a:lnTo>
                  <a:cubicBezTo>
                    <a:pt x="617" y="44"/>
                    <a:pt x="609" y="39"/>
                    <a:pt x="609" y="28"/>
                  </a:cubicBezTo>
                  <a:cubicBezTo>
                    <a:pt x="609" y="14"/>
                    <a:pt x="620" y="8"/>
                    <a:pt x="630" y="8"/>
                  </a:cubicBezTo>
                  <a:cubicBezTo>
                    <a:pt x="640" y="8"/>
                    <a:pt x="647" y="12"/>
                    <a:pt x="653" y="16"/>
                  </a:cubicBezTo>
                  <a:lnTo>
                    <a:pt x="657" y="8"/>
                  </a:lnTo>
                  <a:cubicBezTo>
                    <a:pt x="649" y="3"/>
                    <a:pt x="640" y="0"/>
                    <a:pt x="630" y="0"/>
                  </a:cubicBezTo>
                  <a:cubicBezTo>
                    <a:pt x="611" y="0"/>
                    <a:pt x="598" y="11"/>
                    <a:pt x="598" y="28"/>
                  </a:cubicBezTo>
                  <a:cubicBezTo>
                    <a:pt x="598" y="50"/>
                    <a:pt x="614" y="54"/>
                    <a:pt x="630" y="62"/>
                  </a:cubicBezTo>
                  <a:cubicBezTo>
                    <a:pt x="639" y="66"/>
                    <a:pt x="646" y="71"/>
                    <a:pt x="646" y="82"/>
                  </a:cubicBezTo>
                  <a:cubicBezTo>
                    <a:pt x="646" y="95"/>
                    <a:pt x="636" y="103"/>
                    <a:pt x="623" y="103"/>
                  </a:cubicBezTo>
                  <a:lnTo>
                    <a:pt x="623" y="103"/>
                  </a:lnTo>
                  <a:close/>
                  <a:moveTo>
                    <a:pt x="741" y="9"/>
                  </a:moveTo>
                  <a:lnTo>
                    <a:pt x="741" y="9"/>
                  </a:lnTo>
                  <a:cubicBezTo>
                    <a:pt x="752" y="9"/>
                    <a:pt x="761" y="11"/>
                    <a:pt x="769" y="17"/>
                  </a:cubicBezTo>
                  <a:lnTo>
                    <a:pt x="774" y="8"/>
                  </a:lnTo>
                  <a:cubicBezTo>
                    <a:pt x="764" y="3"/>
                    <a:pt x="754" y="0"/>
                    <a:pt x="741" y="0"/>
                  </a:cubicBezTo>
                  <a:cubicBezTo>
                    <a:pt x="709" y="0"/>
                    <a:pt x="684" y="23"/>
                    <a:pt x="684" y="56"/>
                  </a:cubicBezTo>
                  <a:cubicBezTo>
                    <a:pt x="684" y="91"/>
                    <a:pt x="709" y="112"/>
                    <a:pt x="741" y="112"/>
                  </a:cubicBezTo>
                  <a:cubicBezTo>
                    <a:pt x="752" y="112"/>
                    <a:pt x="764" y="107"/>
                    <a:pt x="773" y="102"/>
                  </a:cubicBezTo>
                  <a:lnTo>
                    <a:pt x="769" y="94"/>
                  </a:lnTo>
                  <a:cubicBezTo>
                    <a:pt x="761" y="99"/>
                    <a:pt x="751" y="102"/>
                    <a:pt x="741" y="102"/>
                  </a:cubicBezTo>
                  <a:cubicBezTo>
                    <a:pt x="715" y="102"/>
                    <a:pt x="697" y="82"/>
                    <a:pt x="697" y="56"/>
                  </a:cubicBezTo>
                  <a:cubicBezTo>
                    <a:pt x="697" y="30"/>
                    <a:pt x="715" y="9"/>
                    <a:pt x="741" y="9"/>
                  </a:cubicBezTo>
                  <a:lnTo>
                    <a:pt x="741" y="9"/>
                  </a:lnTo>
                  <a:close/>
                  <a:moveTo>
                    <a:pt x="805" y="2"/>
                  </a:moveTo>
                  <a:lnTo>
                    <a:pt x="805" y="2"/>
                  </a:lnTo>
                  <a:lnTo>
                    <a:pt x="805" y="110"/>
                  </a:lnTo>
                  <a:lnTo>
                    <a:pt x="817" y="110"/>
                  </a:lnTo>
                  <a:lnTo>
                    <a:pt x="817" y="58"/>
                  </a:lnTo>
                  <a:lnTo>
                    <a:pt x="875" y="58"/>
                  </a:lnTo>
                  <a:lnTo>
                    <a:pt x="875" y="110"/>
                  </a:lnTo>
                  <a:lnTo>
                    <a:pt x="887" y="110"/>
                  </a:lnTo>
                  <a:lnTo>
                    <a:pt x="887" y="2"/>
                  </a:lnTo>
                  <a:lnTo>
                    <a:pt x="875" y="2"/>
                  </a:lnTo>
                  <a:lnTo>
                    <a:pt x="875" y="49"/>
                  </a:lnTo>
                  <a:lnTo>
                    <a:pt x="817" y="49"/>
                  </a:lnTo>
                  <a:lnTo>
                    <a:pt x="817" y="2"/>
                  </a:lnTo>
                  <a:lnTo>
                    <a:pt x="805" y="2"/>
                  </a:lnTo>
                  <a:lnTo>
                    <a:pt x="805" y="2"/>
                  </a:lnTo>
                  <a:close/>
                  <a:moveTo>
                    <a:pt x="926" y="2"/>
                  </a:moveTo>
                  <a:lnTo>
                    <a:pt x="926" y="2"/>
                  </a:lnTo>
                  <a:lnTo>
                    <a:pt x="926" y="110"/>
                  </a:lnTo>
                  <a:lnTo>
                    <a:pt x="984" y="110"/>
                  </a:lnTo>
                  <a:lnTo>
                    <a:pt x="984" y="100"/>
                  </a:lnTo>
                  <a:lnTo>
                    <a:pt x="938" y="100"/>
                  </a:lnTo>
                  <a:lnTo>
                    <a:pt x="938" y="59"/>
                  </a:lnTo>
                  <a:lnTo>
                    <a:pt x="980" y="59"/>
                  </a:lnTo>
                  <a:lnTo>
                    <a:pt x="980" y="49"/>
                  </a:lnTo>
                  <a:lnTo>
                    <a:pt x="938" y="49"/>
                  </a:lnTo>
                  <a:lnTo>
                    <a:pt x="938" y="12"/>
                  </a:lnTo>
                  <a:lnTo>
                    <a:pt x="984" y="12"/>
                  </a:lnTo>
                  <a:lnTo>
                    <a:pt x="984" y="2"/>
                  </a:lnTo>
                  <a:lnTo>
                    <a:pt x="926" y="2"/>
                  </a:lnTo>
                  <a:lnTo>
                    <a:pt x="926" y="2"/>
                  </a:lnTo>
                  <a:close/>
                  <a:moveTo>
                    <a:pt x="96" y="251"/>
                  </a:moveTo>
                  <a:lnTo>
                    <a:pt x="96" y="251"/>
                  </a:lnTo>
                  <a:lnTo>
                    <a:pt x="96" y="180"/>
                  </a:lnTo>
                  <a:lnTo>
                    <a:pt x="84" y="180"/>
                  </a:lnTo>
                  <a:lnTo>
                    <a:pt x="84" y="249"/>
                  </a:lnTo>
                  <a:cubicBezTo>
                    <a:pt x="84" y="274"/>
                    <a:pt x="73" y="281"/>
                    <a:pt x="54" y="281"/>
                  </a:cubicBezTo>
                  <a:cubicBezTo>
                    <a:pt x="34" y="281"/>
                    <a:pt x="25" y="270"/>
                    <a:pt x="25" y="249"/>
                  </a:cubicBezTo>
                  <a:lnTo>
                    <a:pt x="25" y="180"/>
                  </a:lnTo>
                  <a:lnTo>
                    <a:pt x="13" y="180"/>
                  </a:lnTo>
                  <a:lnTo>
                    <a:pt x="13" y="252"/>
                  </a:lnTo>
                  <a:cubicBezTo>
                    <a:pt x="13" y="277"/>
                    <a:pt x="27" y="290"/>
                    <a:pt x="54" y="290"/>
                  </a:cubicBezTo>
                  <a:cubicBezTo>
                    <a:pt x="74" y="290"/>
                    <a:pt x="96" y="284"/>
                    <a:pt x="96" y="251"/>
                  </a:cubicBezTo>
                  <a:lnTo>
                    <a:pt x="96" y="251"/>
                  </a:lnTo>
                  <a:close/>
                  <a:moveTo>
                    <a:pt x="143" y="178"/>
                  </a:moveTo>
                  <a:lnTo>
                    <a:pt x="143" y="178"/>
                  </a:lnTo>
                  <a:lnTo>
                    <a:pt x="130" y="181"/>
                  </a:lnTo>
                  <a:lnTo>
                    <a:pt x="130" y="288"/>
                  </a:lnTo>
                  <a:lnTo>
                    <a:pt x="142" y="288"/>
                  </a:lnTo>
                  <a:lnTo>
                    <a:pt x="142" y="196"/>
                  </a:lnTo>
                  <a:lnTo>
                    <a:pt x="205" y="291"/>
                  </a:lnTo>
                  <a:lnTo>
                    <a:pt x="218" y="287"/>
                  </a:lnTo>
                  <a:lnTo>
                    <a:pt x="218" y="181"/>
                  </a:lnTo>
                  <a:lnTo>
                    <a:pt x="207" y="181"/>
                  </a:lnTo>
                  <a:lnTo>
                    <a:pt x="206" y="273"/>
                  </a:lnTo>
                  <a:lnTo>
                    <a:pt x="143" y="178"/>
                  </a:lnTo>
                  <a:lnTo>
                    <a:pt x="143" y="178"/>
                  </a:lnTo>
                  <a:close/>
                  <a:moveTo>
                    <a:pt x="256" y="288"/>
                  </a:moveTo>
                  <a:lnTo>
                    <a:pt x="256" y="288"/>
                  </a:lnTo>
                  <a:lnTo>
                    <a:pt x="268" y="288"/>
                  </a:lnTo>
                  <a:lnTo>
                    <a:pt x="268" y="180"/>
                  </a:lnTo>
                  <a:lnTo>
                    <a:pt x="256" y="180"/>
                  </a:lnTo>
                  <a:lnTo>
                    <a:pt x="256" y="288"/>
                  </a:lnTo>
                  <a:close/>
                  <a:moveTo>
                    <a:pt x="303" y="179"/>
                  </a:moveTo>
                  <a:lnTo>
                    <a:pt x="303" y="179"/>
                  </a:lnTo>
                  <a:lnTo>
                    <a:pt x="291" y="183"/>
                  </a:lnTo>
                  <a:lnTo>
                    <a:pt x="332" y="288"/>
                  </a:lnTo>
                  <a:lnTo>
                    <a:pt x="344" y="288"/>
                  </a:lnTo>
                  <a:lnTo>
                    <a:pt x="385" y="183"/>
                  </a:lnTo>
                  <a:lnTo>
                    <a:pt x="374" y="179"/>
                  </a:lnTo>
                  <a:lnTo>
                    <a:pt x="338" y="275"/>
                  </a:lnTo>
                  <a:lnTo>
                    <a:pt x="303" y="179"/>
                  </a:lnTo>
                  <a:lnTo>
                    <a:pt x="303" y="179"/>
                  </a:lnTo>
                  <a:close/>
                  <a:moveTo>
                    <a:pt x="409" y="180"/>
                  </a:moveTo>
                  <a:lnTo>
                    <a:pt x="409" y="180"/>
                  </a:lnTo>
                  <a:lnTo>
                    <a:pt x="409" y="288"/>
                  </a:lnTo>
                  <a:lnTo>
                    <a:pt x="467" y="288"/>
                  </a:lnTo>
                  <a:lnTo>
                    <a:pt x="467" y="278"/>
                  </a:lnTo>
                  <a:lnTo>
                    <a:pt x="421" y="278"/>
                  </a:lnTo>
                  <a:lnTo>
                    <a:pt x="421" y="237"/>
                  </a:lnTo>
                  <a:lnTo>
                    <a:pt x="463" y="237"/>
                  </a:lnTo>
                  <a:lnTo>
                    <a:pt x="463" y="227"/>
                  </a:lnTo>
                  <a:lnTo>
                    <a:pt x="421" y="227"/>
                  </a:lnTo>
                  <a:lnTo>
                    <a:pt x="421" y="190"/>
                  </a:lnTo>
                  <a:lnTo>
                    <a:pt x="467" y="190"/>
                  </a:lnTo>
                  <a:lnTo>
                    <a:pt x="467" y="180"/>
                  </a:lnTo>
                  <a:lnTo>
                    <a:pt x="409" y="180"/>
                  </a:lnTo>
                  <a:lnTo>
                    <a:pt x="409" y="180"/>
                  </a:lnTo>
                  <a:close/>
                  <a:moveTo>
                    <a:pt x="522" y="233"/>
                  </a:moveTo>
                  <a:lnTo>
                    <a:pt x="522" y="233"/>
                  </a:lnTo>
                  <a:lnTo>
                    <a:pt x="508" y="233"/>
                  </a:lnTo>
                  <a:lnTo>
                    <a:pt x="508" y="190"/>
                  </a:lnTo>
                  <a:lnTo>
                    <a:pt x="525" y="190"/>
                  </a:lnTo>
                  <a:cubicBezTo>
                    <a:pt x="543" y="190"/>
                    <a:pt x="549" y="199"/>
                    <a:pt x="549" y="211"/>
                  </a:cubicBezTo>
                  <a:cubicBezTo>
                    <a:pt x="549" y="228"/>
                    <a:pt x="536" y="233"/>
                    <a:pt x="522" y="233"/>
                  </a:cubicBezTo>
                  <a:lnTo>
                    <a:pt x="522" y="233"/>
                  </a:lnTo>
                  <a:close/>
                  <a:moveTo>
                    <a:pt x="528" y="181"/>
                  </a:moveTo>
                  <a:lnTo>
                    <a:pt x="528" y="181"/>
                  </a:lnTo>
                  <a:lnTo>
                    <a:pt x="495" y="180"/>
                  </a:lnTo>
                  <a:lnTo>
                    <a:pt x="495" y="288"/>
                  </a:lnTo>
                  <a:lnTo>
                    <a:pt x="508" y="288"/>
                  </a:lnTo>
                  <a:lnTo>
                    <a:pt x="508" y="242"/>
                  </a:lnTo>
                  <a:lnTo>
                    <a:pt x="517" y="242"/>
                  </a:lnTo>
                  <a:cubicBezTo>
                    <a:pt x="525" y="242"/>
                    <a:pt x="530" y="245"/>
                    <a:pt x="534" y="251"/>
                  </a:cubicBezTo>
                  <a:lnTo>
                    <a:pt x="539" y="257"/>
                  </a:lnTo>
                  <a:lnTo>
                    <a:pt x="564" y="291"/>
                  </a:lnTo>
                  <a:lnTo>
                    <a:pt x="575" y="285"/>
                  </a:lnTo>
                  <a:lnTo>
                    <a:pt x="553" y="256"/>
                  </a:lnTo>
                  <a:cubicBezTo>
                    <a:pt x="549" y="251"/>
                    <a:pt x="543" y="241"/>
                    <a:pt x="537" y="240"/>
                  </a:cubicBezTo>
                  <a:lnTo>
                    <a:pt x="537" y="237"/>
                  </a:lnTo>
                  <a:cubicBezTo>
                    <a:pt x="551" y="235"/>
                    <a:pt x="560" y="227"/>
                    <a:pt x="560" y="209"/>
                  </a:cubicBezTo>
                  <a:cubicBezTo>
                    <a:pt x="560" y="192"/>
                    <a:pt x="548" y="181"/>
                    <a:pt x="528" y="181"/>
                  </a:cubicBezTo>
                  <a:lnTo>
                    <a:pt x="528" y="181"/>
                  </a:lnTo>
                  <a:close/>
                  <a:moveTo>
                    <a:pt x="618" y="282"/>
                  </a:moveTo>
                  <a:lnTo>
                    <a:pt x="618" y="282"/>
                  </a:lnTo>
                  <a:cubicBezTo>
                    <a:pt x="609" y="282"/>
                    <a:pt x="601" y="279"/>
                    <a:pt x="595" y="275"/>
                  </a:cubicBezTo>
                  <a:lnTo>
                    <a:pt x="590" y="283"/>
                  </a:lnTo>
                  <a:cubicBezTo>
                    <a:pt x="599" y="288"/>
                    <a:pt x="607" y="291"/>
                    <a:pt x="618" y="291"/>
                  </a:cubicBezTo>
                  <a:cubicBezTo>
                    <a:pt x="642" y="291"/>
                    <a:pt x="653" y="276"/>
                    <a:pt x="653" y="260"/>
                  </a:cubicBezTo>
                  <a:cubicBezTo>
                    <a:pt x="653" y="244"/>
                    <a:pt x="641" y="237"/>
                    <a:pt x="629" y="231"/>
                  </a:cubicBezTo>
                  <a:lnTo>
                    <a:pt x="620" y="227"/>
                  </a:lnTo>
                  <a:cubicBezTo>
                    <a:pt x="612" y="223"/>
                    <a:pt x="604" y="218"/>
                    <a:pt x="604" y="207"/>
                  </a:cubicBezTo>
                  <a:cubicBezTo>
                    <a:pt x="604" y="193"/>
                    <a:pt x="615" y="187"/>
                    <a:pt x="625" y="187"/>
                  </a:cubicBezTo>
                  <a:cubicBezTo>
                    <a:pt x="635" y="187"/>
                    <a:pt x="642" y="191"/>
                    <a:pt x="648" y="195"/>
                  </a:cubicBezTo>
                  <a:lnTo>
                    <a:pt x="652" y="187"/>
                  </a:lnTo>
                  <a:cubicBezTo>
                    <a:pt x="644" y="182"/>
                    <a:pt x="634" y="179"/>
                    <a:pt x="624" y="179"/>
                  </a:cubicBezTo>
                  <a:cubicBezTo>
                    <a:pt x="605" y="179"/>
                    <a:pt x="592" y="190"/>
                    <a:pt x="592" y="207"/>
                  </a:cubicBezTo>
                  <a:cubicBezTo>
                    <a:pt x="592" y="229"/>
                    <a:pt x="609" y="233"/>
                    <a:pt x="625" y="241"/>
                  </a:cubicBezTo>
                  <a:cubicBezTo>
                    <a:pt x="633" y="245"/>
                    <a:pt x="640" y="250"/>
                    <a:pt x="640" y="261"/>
                  </a:cubicBezTo>
                  <a:cubicBezTo>
                    <a:pt x="640" y="274"/>
                    <a:pt x="631" y="282"/>
                    <a:pt x="618" y="282"/>
                  </a:cubicBezTo>
                  <a:lnTo>
                    <a:pt x="618" y="282"/>
                  </a:lnTo>
                  <a:close/>
                  <a:moveTo>
                    <a:pt x="685" y="288"/>
                  </a:moveTo>
                  <a:lnTo>
                    <a:pt x="685" y="288"/>
                  </a:lnTo>
                  <a:lnTo>
                    <a:pt x="697" y="288"/>
                  </a:lnTo>
                  <a:lnTo>
                    <a:pt x="697" y="180"/>
                  </a:lnTo>
                  <a:lnTo>
                    <a:pt x="685" y="180"/>
                  </a:lnTo>
                  <a:lnTo>
                    <a:pt x="685" y="288"/>
                  </a:lnTo>
                  <a:close/>
                  <a:moveTo>
                    <a:pt x="721" y="180"/>
                  </a:moveTo>
                  <a:lnTo>
                    <a:pt x="721" y="180"/>
                  </a:lnTo>
                  <a:lnTo>
                    <a:pt x="721" y="190"/>
                  </a:lnTo>
                  <a:lnTo>
                    <a:pt x="752" y="190"/>
                  </a:lnTo>
                  <a:lnTo>
                    <a:pt x="752" y="288"/>
                  </a:lnTo>
                  <a:lnTo>
                    <a:pt x="764" y="288"/>
                  </a:lnTo>
                  <a:lnTo>
                    <a:pt x="764" y="190"/>
                  </a:lnTo>
                  <a:lnTo>
                    <a:pt x="796" y="190"/>
                  </a:lnTo>
                  <a:lnTo>
                    <a:pt x="796" y="180"/>
                  </a:lnTo>
                  <a:lnTo>
                    <a:pt x="721" y="180"/>
                  </a:lnTo>
                  <a:lnTo>
                    <a:pt x="721" y="180"/>
                  </a:lnTo>
                  <a:close/>
                  <a:moveTo>
                    <a:pt x="851" y="191"/>
                  </a:moveTo>
                  <a:lnTo>
                    <a:pt x="851" y="191"/>
                  </a:lnTo>
                  <a:lnTo>
                    <a:pt x="870" y="245"/>
                  </a:lnTo>
                  <a:lnTo>
                    <a:pt x="830" y="245"/>
                  </a:lnTo>
                  <a:lnTo>
                    <a:pt x="851" y="191"/>
                  </a:lnTo>
                  <a:lnTo>
                    <a:pt x="851" y="191"/>
                  </a:lnTo>
                  <a:close/>
                  <a:moveTo>
                    <a:pt x="900" y="287"/>
                  </a:moveTo>
                  <a:lnTo>
                    <a:pt x="900" y="287"/>
                  </a:lnTo>
                  <a:lnTo>
                    <a:pt x="857" y="180"/>
                  </a:lnTo>
                  <a:lnTo>
                    <a:pt x="844" y="180"/>
                  </a:lnTo>
                  <a:lnTo>
                    <a:pt x="800" y="287"/>
                  </a:lnTo>
                  <a:lnTo>
                    <a:pt x="812" y="291"/>
                  </a:lnTo>
                  <a:lnTo>
                    <a:pt x="827" y="253"/>
                  </a:lnTo>
                  <a:lnTo>
                    <a:pt x="874" y="253"/>
                  </a:lnTo>
                  <a:lnTo>
                    <a:pt x="888" y="291"/>
                  </a:lnTo>
                  <a:lnTo>
                    <a:pt x="900" y="287"/>
                  </a:lnTo>
                  <a:lnTo>
                    <a:pt x="900" y="287"/>
                  </a:lnTo>
                  <a:close/>
                  <a:moveTo>
                    <a:pt x="871" y="188"/>
                  </a:moveTo>
                  <a:lnTo>
                    <a:pt x="871" y="188"/>
                  </a:lnTo>
                  <a:lnTo>
                    <a:pt x="882" y="188"/>
                  </a:lnTo>
                  <a:lnTo>
                    <a:pt x="882" y="174"/>
                  </a:lnTo>
                  <a:lnTo>
                    <a:pt x="871" y="174"/>
                  </a:lnTo>
                  <a:lnTo>
                    <a:pt x="871" y="188"/>
                  </a:lnTo>
                  <a:close/>
                  <a:moveTo>
                    <a:pt x="820" y="188"/>
                  </a:moveTo>
                  <a:lnTo>
                    <a:pt x="820" y="188"/>
                  </a:lnTo>
                  <a:lnTo>
                    <a:pt x="831" y="188"/>
                  </a:lnTo>
                  <a:lnTo>
                    <a:pt x="831" y="174"/>
                  </a:lnTo>
                  <a:lnTo>
                    <a:pt x="820" y="174"/>
                  </a:lnTo>
                  <a:lnTo>
                    <a:pt x="820" y="188"/>
                  </a:lnTo>
                  <a:close/>
                  <a:moveTo>
                    <a:pt x="911" y="180"/>
                  </a:moveTo>
                  <a:lnTo>
                    <a:pt x="911" y="180"/>
                  </a:lnTo>
                  <a:lnTo>
                    <a:pt x="911" y="190"/>
                  </a:lnTo>
                  <a:lnTo>
                    <a:pt x="942" y="190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190"/>
                  </a:lnTo>
                  <a:lnTo>
                    <a:pt x="986" y="190"/>
                  </a:lnTo>
                  <a:lnTo>
                    <a:pt x="986" y="180"/>
                  </a:lnTo>
                  <a:lnTo>
                    <a:pt x="911" y="180"/>
                  </a:lnTo>
                  <a:lnTo>
                    <a:pt x="911" y="180"/>
                  </a:lnTo>
                  <a:close/>
                  <a:moveTo>
                    <a:pt x="41" y="457"/>
                  </a:moveTo>
                  <a:lnTo>
                    <a:pt x="41" y="457"/>
                  </a:lnTo>
                  <a:lnTo>
                    <a:pt x="25" y="457"/>
                  </a:lnTo>
                  <a:lnTo>
                    <a:pt x="25" y="368"/>
                  </a:lnTo>
                  <a:lnTo>
                    <a:pt x="43" y="368"/>
                  </a:lnTo>
                  <a:cubicBezTo>
                    <a:pt x="73" y="368"/>
                    <a:pt x="93" y="383"/>
                    <a:pt x="93" y="412"/>
                  </a:cubicBezTo>
                  <a:cubicBezTo>
                    <a:pt x="93" y="440"/>
                    <a:pt x="73" y="457"/>
                    <a:pt x="41" y="457"/>
                  </a:cubicBezTo>
                  <a:lnTo>
                    <a:pt x="41" y="457"/>
                  </a:lnTo>
                  <a:close/>
                  <a:moveTo>
                    <a:pt x="46" y="359"/>
                  </a:moveTo>
                  <a:lnTo>
                    <a:pt x="46" y="359"/>
                  </a:lnTo>
                  <a:lnTo>
                    <a:pt x="13" y="359"/>
                  </a:lnTo>
                  <a:lnTo>
                    <a:pt x="13" y="466"/>
                  </a:lnTo>
                  <a:lnTo>
                    <a:pt x="42" y="466"/>
                  </a:lnTo>
                  <a:cubicBezTo>
                    <a:pt x="79" y="466"/>
                    <a:pt x="104" y="448"/>
                    <a:pt x="104" y="411"/>
                  </a:cubicBezTo>
                  <a:cubicBezTo>
                    <a:pt x="104" y="385"/>
                    <a:pt x="89" y="359"/>
                    <a:pt x="46" y="359"/>
                  </a:cubicBezTo>
                  <a:lnTo>
                    <a:pt x="46" y="359"/>
                  </a:lnTo>
                  <a:close/>
                  <a:moveTo>
                    <a:pt x="171" y="369"/>
                  </a:moveTo>
                  <a:lnTo>
                    <a:pt x="171" y="369"/>
                  </a:lnTo>
                  <a:lnTo>
                    <a:pt x="191" y="423"/>
                  </a:lnTo>
                  <a:lnTo>
                    <a:pt x="150" y="423"/>
                  </a:lnTo>
                  <a:lnTo>
                    <a:pt x="171" y="369"/>
                  </a:lnTo>
                  <a:lnTo>
                    <a:pt x="171" y="369"/>
                  </a:lnTo>
                  <a:close/>
                  <a:moveTo>
                    <a:pt x="220" y="465"/>
                  </a:moveTo>
                  <a:lnTo>
                    <a:pt x="220" y="465"/>
                  </a:lnTo>
                  <a:lnTo>
                    <a:pt x="177" y="359"/>
                  </a:lnTo>
                  <a:lnTo>
                    <a:pt x="165" y="359"/>
                  </a:lnTo>
                  <a:lnTo>
                    <a:pt x="121" y="465"/>
                  </a:lnTo>
                  <a:lnTo>
                    <a:pt x="133" y="469"/>
                  </a:lnTo>
                  <a:lnTo>
                    <a:pt x="147" y="432"/>
                  </a:lnTo>
                  <a:lnTo>
                    <a:pt x="194" y="432"/>
                  </a:lnTo>
                  <a:lnTo>
                    <a:pt x="208" y="469"/>
                  </a:lnTo>
                  <a:lnTo>
                    <a:pt x="220" y="465"/>
                  </a:lnTo>
                  <a:lnTo>
                    <a:pt x="220" y="465"/>
                  </a:lnTo>
                  <a:close/>
                  <a:moveTo>
                    <a:pt x="275" y="411"/>
                  </a:moveTo>
                  <a:lnTo>
                    <a:pt x="275" y="411"/>
                  </a:lnTo>
                  <a:lnTo>
                    <a:pt x="261" y="411"/>
                  </a:lnTo>
                  <a:lnTo>
                    <a:pt x="261" y="368"/>
                  </a:lnTo>
                  <a:lnTo>
                    <a:pt x="278" y="368"/>
                  </a:lnTo>
                  <a:cubicBezTo>
                    <a:pt x="297" y="368"/>
                    <a:pt x="302" y="377"/>
                    <a:pt x="302" y="389"/>
                  </a:cubicBezTo>
                  <a:cubicBezTo>
                    <a:pt x="302" y="407"/>
                    <a:pt x="289" y="411"/>
                    <a:pt x="275" y="411"/>
                  </a:cubicBezTo>
                  <a:lnTo>
                    <a:pt x="275" y="411"/>
                  </a:lnTo>
                  <a:close/>
                  <a:moveTo>
                    <a:pt x="281" y="359"/>
                  </a:moveTo>
                  <a:lnTo>
                    <a:pt x="281" y="359"/>
                  </a:lnTo>
                  <a:lnTo>
                    <a:pt x="249" y="359"/>
                  </a:lnTo>
                  <a:lnTo>
                    <a:pt x="249" y="467"/>
                  </a:lnTo>
                  <a:lnTo>
                    <a:pt x="261" y="467"/>
                  </a:lnTo>
                  <a:lnTo>
                    <a:pt x="261" y="420"/>
                  </a:lnTo>
                  <a:lnTo>
                    <a:pt x="271" y="420"/>
                  </a:lnTo>
                  <a:cubicBezTo>
                    <a:pt x="279" y="420"/>
                    <a:pt x="283" y="423"/>
                    <a:pt x="287" y="429"/>
                  </a:cubicBezTo>
                  <a:lnTo>
                    <a:pt x="292" y="435"/>
                  </a:lnTo>
                  <a:lnTo>
                    <a:pt x="317" y="469"/>
                  </a:lnTo>
                  <a:lnTo>
                    <a:pt x="328" y="463"/>
                  </a:lnTo>
                  <a:lnTo>
                    <a:pt x="306" y="435"/>
                  </a:lnTo>
                  <a:cubicBezTo>
                    <a:pt x="302" y="429"/>
                    <a:pt x="297" y="419"/>
                    <a:pt x="290" y="418"/>
                  </a:cubicBezTo>
                  <a:lnTo>
                    <a:pt x="290" y="415"/>
                  </a:lnTo>
                  <a:cubicBezTo>
                    <a:pt x="305" y="413"/>
                    <a:pt x="313" y="405"/>
                    <a:pt x="313" y="387"/>
                  </a:cubicBezTo>
                  <a:cubicBezTo>
                    <a:pt x="313" y="370"/>
                    <a:pt x="301" y="359"/>
                    <a:pt x="281" y="359"/>
                  </a:cubicBezTo>
                  <a:lnTo>
                    <a:pt x="281" y="359"/>
                  </a:lnTo>
                  <a:close/>
                  <a:moveTo>
                    <a:pt x="394" y="359"/>
                  </a:moveTo>
                  <a:lnTo>
                    <a:pt x="394" y="359"/>
                  </a:lnTo>
                  <a:lnTo>
                    <a:pt x="381" y="359"/>
                  </a:lnTo>
                  <a:lnTo>
                    <a:pt x="351" y="465"/>
                  </a:lnTo>
                  <a:lnTo>
                    <a:pt x="362" y="468"/>
                  </a:lnTo>
                  <a:lnTo>
                    <a:pt x="388" y="375"/>
                  </a:lnTo>
                  <a:lnTo>
                    <a:pt x="415" y="466"/>
                  </a:lnTo>
                  <a:lnTo>
                    <a:pt x="429" y="466"/>
                  </a:lnTo>
                  <a:lnTo>
                    <a:pt x="457" y="375"/>
                  </a:lnTo>
                  <a:lnTo>
                    <a:pt x="482" y="468"/>
                  </a:lnTo>
                  <a:lnTo>
                    <a:pt x="493" y="465"/>
                  </a:lnTo>
                  <a:lnTo>
                    <a:pt x="463" y="359"/>
                  </a:lnTo>
                  <a:lnTo>
                    <a:pt x="450" y="359"/>
                  </a:lnTo>
                  <a:lnTo>
                    <a:pt x="422" y="453"/>
                  </a:lnTo>
                  <a:lnTo>
                    <a:pt x="394" y="359"/>
                  </a:lnTo>
                  <a:lnTo>
                    <a:pt x="394" y="359"/>
                  </a:lnTo>
                  <a:close/>
                  <a:moveTo>
                    <a:pt x="544" y="460"/>
                  </a:moveTo>
                  <a:lnTo>
                    <a:pt x="544" y="460"/>
                  </a:lnTo>
                  <a:cubicBezTo>
                    <a:pt x="536" y="460"/>
                    <a:pt x="527" y="457"/>
                    <a:pt x="521" y="453"/>
                  </a:cubicBezTo>
                  <a:lnTo>
                    <a:pt x="517" y="461"/>
                  </a:lnTo>
                  <a:cubicBezTo>
                    <a:pt x="525" y="466"/>
                    <a:pt x="534" y="468"/>
                    <a:pt x="545" y="468"/>
                  </a:cubicBezTo>
                  <a:cubicBezTo>
                    <a:pt x="569" y="468"/>
                    <a:pt x="579" y="454"/>
                    <a:pt x="579" y="438"/>
                  </a:cubicBezTo>
                  <a:cubicBezTo>
                    <a:pt x="579" y="422"/>
                    <a:pt x="568" y="415"/>
                    <a:pt x="555" y="409"/>
                  </a:cubicBezTo>
                  <a:lnTo>
                    <a:pt x="546" y="405"/>
                  </a:lnTo>
                  <a:cubicBezTo>
                    <a:pt x="539" y="401"/>
                    <a:pt x="530" y="395"/>
                    <a:pt x="530" y="385"/>
                  </a:cubicBezTo>
                  <a:cubicBezTo>
                    <a:pt x="530" y="371"/>
                    <a:pt x="542" y="365"/>
                    <a:pt x="552" y="365"/>
                  </a:cubicBezTo>
                  <a:cubicBezTo>
                    <a:pt x="562" y="365"/>
                    <a:pt x="568" y="369"/>
                    <a:pt x="574" y="373"/>
                  </a:cubicBezTo>
                  <a:lnTo>
                    <a:pt x="579" y="365"/>
                  </a:lnTo>
                  <a:cubicBezTo>
                    <a:pt x="570" y="360"/>
                    <a:pt x="561" y="357"/>
                    <a:pt x="551" y="357"/>
                  </a:cubicBezTo>
                  <a:cubicBezTo>
                    <a:pt x="532" y="357"/>
                    <a:pt x="519" y="368"/>
                    <a:pt x="519" y="384"/>
                  </a:cubicBezTo>
                  <a:cubicBezTo>
                    <a:pt x="519" y="407"/>
                    <a:pt x="535" y="411"/>
                    <a:pt x="551" y="419"/>
                  </a:cubicBezTo>
                  <a:cubicBezTo>
                    <a:pt x="560" y="423"/>
                    <a:pt x="567" y="428"/>
                    <a:pt x="567" y="439"/>
                  </a:cubicBezTo>
                  <a:cubicBezTo>
                    <a:pt x="567" y="452"/>
                    <a:pt x="558" y="460"/>
                    <a:pt x="544" y="460"/>
                  </a:cubicBezTo>
                  <a:lnTo>
                    <a:pt x="544" y="460"/>
                  </a:lnTo>
                  <a:close/>
                  <a:moveTo>
                    <a:pt x="599" y="359"/>
                  </a:moveTo>
                  <a:lnTo>
                    <a:pt x="599" y="359"/>
                  </a:lnTo>
                  <a:lnTo>
                    <a:pt x="599" y="369"/>
                  </a:lnTo>
                  <a:lnTo>
                    <a:pt x="631" y="369"/>
                  </a:lnTo>
                  <a:lnTo>
                    <a:pt x="631" y="466"/>
                  </a:lnTo>
                  <a:lnTo>
                    <a:pt x="643" y="466"/>
                  </a:lnTo>
                  <a:lnTo>
                    <a:pt x="643" y="369"/>
                  </a:lnTo>
                  <a:lnTo>
                    <a:pt x="675" y="369"/>
                  </a:lnTo>
                  <a:lnTo>
                    <a:pt x="675" y="359"/>
                  </a:lnTo>
                  <a:lnTo>
                    <a:pt x="599" y="359"/>
                  </a:lnTo>
                  <a:lnTo>
                    <a:pt x="599" y="359"/>
                  </a:lnTo>
                  <a:close/>
                  <a:moveTo>
                    <a:pt x="731" y="370"/>
                  </a:moveTo>
                  <a:lnTo>
                    <a:pt x="731" y="370"/>
                  </a:lnTo>
                  <a:lnTo>
                    <a:pt x="751" y="423"/>
                  </a:lnTo>
                  <a:lnTo>
                    <a:pt x="710" y="423"/>
                  </a:lnTo>
                  <a:lnTo>
                    <a:pt x="731" y="370"/>
                  </a:lnTo>
                  <a:lnTo>
                    <a:pt x="731" y="370"/>
                  </a:lnTo>
                  <a:close/>
                  <a:moveTo>
                    <a:pt x="780" y="465"/>
                  </a:moveTo>
                  <a:lnTo>
                    <a:pt x="780" y="465"/>
                  </a:lnTo>
                  <a:lnTo>
                    <a:pt x="737" y="359"/>
                  </a:lnTo>
                  <a:lnTo>
                    <a:pt x="725" y="359"/>
                  </a:lnTo>
                  <a:lnTo>
                    <a:pt x="681" y="465"/>
                  </a:lnTo>
                  <a:lnTo>
                    <a:pt x="693" y="469"/>
                  </a:lnTo>
                  <a:lnTo>
                    <a:pt x="707" y="432"/>
                  </a:lnTo>
                  <a:lnTo>
                    <a:pt x="754" y="432"/>
                  </a:lnTo>
                  <a:lnTo>
                    <a:pt x="768" y="469"/>
                  </a:lnTo>
                  <a:lnTo>
                    <a:pt x="780" y="465"/>
                  </a:lnTo>
                  <a:lnTo>
                    <a:pt x="780" y="465"/>
                  </a:lnTo>
                  <a:close/>
                  <a:moveTo>
                    <a:pt x="832" y="457"/>
                  </a:moveTo>
                  <a:lnTo>
                    <a:pt x="832" y="457"/>
                  </a:lnTo>
                  <a:lnTo>
                    <a:pt x="817" y="457"/>
                  </a:lnTo>
                  <a:lnTo>
                    <a:pt x="817" y="368"/>
                  </a:lnTo>
                  <a:lnTo>
                    <a:pt x="835" y="368"/>
                  </a:lnTo>
                  <a:cubicBezTo>
                    <a:pt x="865" y="368"/>
                    <a:pt x="884" y="383"/>
                    <a:pt x="884" y="412"/>
                  </a:cubicBezTo>
                  <a:cubicBezTo>
                    <a:pt x="884" y="440"/>
                    <a:pt x="864" y="457"/>
                    <a:pt x="832" y="457"/>
                  </a:cubicBezTo>
                  <a:lnTo>
                    <a:pt x="832" y="457"/>
                  </a:lnTo>
                  <a:close/>
                  <a:moveTo>
                    <a:pt x="837" y="359"/>
                  </a:moveTo>
                  <a:lnTo>
                    <a:pt x="837" y="359"/>
                  </a:lnTo>
                  <a:lnTo>
                    <a:pt x="804" y="359"/>
                  </a:lnTo>
                  <a:lnTo>
                    <a:pt x="804" y="466"/>
                  </a:lnTo>
                  <a:lnTo>
                    <a:pt x="834" y="466"/>
                  </a:lnTo>
                  <a:cubicBezTo>
                    <a:pt x="871" y="466"/>
                    <a:pt x="896" y="448"/>
                    <a:pt x="896" y="411"/>
                  </a:cubicBezTo>
                  <a:cubicBezTo>
                    <a:pt x="896" y="385"/>
                    <a:pt x="881" y="359"/>
                    <a:pt x="837" y="359"/>
                  </a:cubicBezTo>
                  <a:lnTo>
                    <a:pt x="837" y="359"/>
                  </a:lnTo>
                  <a:close/>
                  <a:moveTo>
                    <a:pt x="910" y="359"/>
                  </a:moveTo>
                  <a:lnTo>
                    <a:pt x="910" y="359"/>
                  </a:lnTo>
                  <a:lnTo>
                    <a:pt x="910" y="369"/>
                  </a:lnTo>
                  <a:lnTo>
                    <a:pt x="942" y="369"/>
                  </a:lnTo>
                  <a:lnTo>
                    <a:pt x="942" y="466"/>
                  </a:lnTo>
                  <a:lnTo>
                    <a:pt x="954" y="466"/>
                  </a:lnTo>
                  <a:lnTo>
                    <a:pt x="954" y="369"/>
                  </a:lnTo>
                  <a:lnTo>
                    <a:pt x="986" y="369"/>
                  </a:lnTo>
                  <a:lnTo>
                    <a:pt x="986" y="359"/>
                  </a:lnTo>
                  <a:lnTo>
                    <a:pt x="910" y="359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8549D8F9-442C-4F12-9F2D-DBA950D088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184232" y="553507"/>
              <a:ext cx="1638300" cy="628650"/>
            </a:xfrm>
            <a:prstGeom prst="rect">
              <a:avLst/>
            </a:prstGeom>
          </p:spPr>
        </p:pic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506C409E-3670-4E9D-8B7F-48A6E12639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2242" y="624417"/>
              <a:ext cx="364067" cy="406400"/>
            </a:xfrm>
            <a:custGeom>
              <a:avLst/>
              <a:gdLst>
                <a:gd name="T0" fmla="*/ 31 w 337"/>
                <a:gd name="T1" fmla="*/ 334 h 370"/>
                <a:gd name="T2" fmla="*/ 55 w 337"/>
                <a:gd name="T3" fmla="*/ 309 h 370"/>
                <a:gd name="T4" fmla="*/ 27 w 337"/>
                <a:gd name="T5" fmla="*/ 282 h 370"/>
                <a:gd name="T6" fmla="*/ 8 w 337"/>
                <a:gd name="T7" fmla="*/ 272 h 370"/>
                <a:gd name="T8" fmla="*/ 31 w 337"/>
                <a:gd name="T9" fmla="*/ 333 h 370"/>
                <a:gd name="T10" fmla="*/ 58 w 337"/>
                <a:gd name="T11" fmla="*/ 370 h 370"/>
                <a:gd name="T12" fmla="*/ 303 w 337"/>
                <a:gd name="T13" fmla="*/ 58 h 370"/>
                <a:gd name="T14" fmla="*/ 58 w 337"/>
                <a:gd name="T15" fmla="*/ 370 h 370"/>
                <a:gd name="T16" fmla="*/ 325 w 337"/>
                <a:gd name="T17" fmla="*/ 18 h 370"/>
                <a:gd name="T18" fmla="*/ 327 w 337"/>
                <a:gd name="T19" fmla="*/ 60 h 370"/>
                <a:gd name="T20" fmla="*/ 322 w 337"/>
                <a:gd name="T21" fmla="*/ 40 h 370"/>
                <a:gd name="T22" fmla="*/ 325 w 337"/>
                <a:gd name="T23" fmla="*/ 18 h 370"/>
                <a:gd name="T24" fmla="*/ 41 w 337"/>
                <a:gd name="T25" fmla="*/ 347 h 370"/>
                <a:gd name="T26" fmla="*/ 186 w 337"/>
                <a:gd name="T27" fmla="*/ 194 h 370"/>
                <a:gd name="T28" fmla="*/ 323 w 337"/>
                <a:gd name="T29" fmla="*/ 13 h 370"/>
                <a:gd name="T30" fmla="*/ 267 w 337"/>
                <a:gd name="T31" fmla="*/ 53 h 370"/>
                <a:gd name="T32" fmla="*/ 145 w 337"/>
                <a:gd name="T33" fmla="*/ 232 h 370"/>
                <a:gd name="T34" fmla="*/ 114 w 337"/>
                <a:gd name="T35" fmla="*/ 274 h 370"/>
                <a:gd name="T36" fmla="*/ 92 w 337"/>
                <a:gd name="T37" fmla="*/ 299 h 370"/>
                <a:gd name="T38" fmla="*/ 75 w 337"/>
                <a:gd name="T39" fmla="*/ 317 h 370"/>
                <a:gd name="T40" fmla="*/ 85 w 337"/>
                <a:gd name="T41" fmla="*/ 299 h 370"/>
                <a:gd name="T42" fmla="*/ 31 w 337"/>
                <a:gd name="T43" fmla="*/ 279 h 370"/>
                <a:gd name="T44" fmla="*/ 73 w 337"/>
                <a:gd name="T45" fmla="*/ 312 h 370"/>
                <a:gd name="T46" fmla="*/ 102 w 337"/>
                <a:gd name="T47" fmla="*/ 279 h 370"/>
                <a:gd name="T48" fmla="*/ 90 w 337"/>
                <a:gd name="T49" fmla="*/ 294 h 370"/>
                <a:gd name="T50" fmla="*/ 110 w 337"/>
                <a:gd name="T51" fmla="*/ 270 h 370"/>
                <a:gd name="T52" fmla="*/ 89 w 337"/>
                <a:gd name="T53" fmla="*/ 226 h 370"/>
                <a:gd name="T54" fmla="*/ 82 w 337"/>
                <a:gd name="T55" fmla="*/ 226 h 370"/>
                <a:gd name="T56" fmla="*/ 102 w 337"/>
                <a:gd name="T57" fmla="*/ 211 h 370"/>
                <a:gd name="T58" fmla="*/ 144 w 337"/>
                <a:gd name="T59" fmla="*/ 199 h 370"/>
                <a:gd name="T60" fmla="*/ 110 w 337"/>
                <a:gd name="T61" fmla="*/ 270 h 370"/>
                <a:gd name="T62" fmla="*/ 128 w 337"/>
                <a:gd name="T63" fmla="*/ 246 h 370"/>
                <a:gd name="T64" fmla="*/ 109 w 337"/>
                <a:gd name="T65" fmla="*/ 214 h 370"/>
                <a:gd name="T66" fmla="*/ 144 w 337"/>
                <a:gd name="T67" fmla="*/ 224 h 370"/>
                <a:gd name="T68" fmla="*/ 153 w 337"/>
                <a:gd name="T69" fmla="*/ 204 h 370"/>
                <a:gd name="T70" fmla="*/ 144 w 337"/>
                <a:gd name="T71" fmla="*/ 224 h 370"/>
                <a:gd name="T72" fmla="*/ 171 w 337"/>
                <a:gd name="T73" fmla="*/ 183 h 370"/>
                <a:gd name="T74" fmla="*/ 154 w 337"/>
                <a:gd name="T75" fmla="*/ 199 h 370"/>
                <a:gd name="T76" fmla="*/ 159 w 337"/>
                <a:gd name="T77" fmla="*/ 202 h 370"/>
                <a:gd name="T78" fmla="*/ 183 w 337"/>
                <a:gd name="T79" fmla="*/ 164 h 370"/>
                <a:gd name="T80" fmla="*/ 94 w 337"/>
                <a:gd name="T81" fmla="*/ 175 h 370"/>
                <a:gd name="T82" fmla="*/ 174 w 337"/>
                <a:gd name="T83" fmla="*/ 178 h 370"/>
                <a:gd name="T84" fmla="*/ 193 w 337"/>
                <a:gd name="T85" fmla="*/ 148 h 370"/>
                <a:gd name="T86" fmla="*/ 54 w 337"/>
                <a:gd name="T87" fmla="*/ 148 h 370"/>
                <a:gd name="T88" fmla="*/ 186 w 337"/>
                <a:gd name="T89" fmla="*/ 159 h 370"/>
                <a:gd name="T90" fmla="*/ 204 w 337"/>
                <a:gd name="T91" fmla="*/ 131 h 370"/>
                <a:gd name="T92" fmla="*/ 110 w 337"/>
                <a:gd name="T93" fmla="*/ 123 h 370"/>
                <a:gd name="T94" fmla="*/ 42 w 337"/>
                <a:gd name="T95" fmla="*/ 99 h 370"/>
                <a:gd name="T96" fmla="*/ 113 w 337"/>
                <a:gd name="T97" fmla="*/ 137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37" h="370">
                  <a:moveTo>
                    <a:pt x="31" y="333"/>
                  </a:moveTo>
                  <a:lnTo>
                    <a:pt x="31" y="333"/>
                  </a:lnTo>
                  <a:cubicBezTo>
                    <a:pt x="31" y="334"/>
                    <a:pt x="31" y="334"/>
                    <a:pt x="31" y="334"/>
                  </a:cubicBezTo>
                  <a:cubicBezTo>
                    <a:pt x="33" y="337"/>
                    <a:pt x="35" y="340"/>
                    <a:pt x="37" y="343"/>
                  </a:cubicBezTo>
                  <a:cubicBezTo>
                    <a:pt x="48" y="334"/>
                    <a:pt x="59" y="325"/>
                    <a:pt x="68" y="316"/>
                  </a:cubicBezTo>
                  <a:cubicBezTo>
                    <a:pt x="64" y="313"/>
                    <a:pt x="59" y="311"/>
                    <a:pt x="55" y="309"/>
                  </a:cubicBezTo>
                  <a:cubicBezTo>
                    <a:pt x="48" y="316"/>
                    <a:pt x="42" y="320"/>
                    <a:pt x="29" y="320"/>
                  </a:cubicBezTo>
                  <a:cubicBezTo>
                    <a:pt x="27" y="320"/>
                    <a:pt x="26" y="318"/>
                    <a:pt x="27" y="316"/>
                  </a:cubicBezTo>
                  <a:cubicBezTo>
                    <a:pt x="29" y="309"/>
                    <a:pt x="27" y="291"/>
                    <a:pt x="27" y="282"/>
                  </a:cubicBezTo>
                  <a:cubicBezTo>
                    <a:pt x="26" y="280"/>
                    <a:pt x="25" y="278"/>
                    <a:pt x="24" y="276"/>
                  </a:cubicBezTo>
                  <a:cubicBezTo>
                    <a:pt x="20" y="277"/>
                    <a:pt x="16" y="277"/>
                    <a:pt x="10" y="277"/>
                  </a:cubicBezTo>
                  <a:cubicBezTo>
                    <a:pt x="7" y="277"/>
                    <a:pt x="6" y="274"/>
                    <a:pt x="8" y="272"/>
                  </a:cubicBezTo>
                  <a:cubicBezTo>
                    <a:pt x="17" y="264"/>
                    <a:pt x="16" y="253"/>
                    <a:pt x="17" y="238"/>
                  </a:cubicBezTo>
                  <a:cubicBezTo>
                    <a:pt x="12" y="241"/>
                    <a:pt x="4" y="247"/>
                    <a:pt x="0" y="249"/>
                  </a:cubicBezTo>
                  <a:cubicBezTo>
                    <a:pt x="4" y="288"/>
                    <a:pt x="17" y="313"/>
                    <a:pt x="31" y="333"/>
                  </a:cubicBezTo>
                  <a:lnTo>
                    <a:pt x="31" y="333"/>
                  </a:lnTo>
                  <a:close/>
                  <a:moveTo>
                    <a:pt x="58" y="370"/>
                  </a:moveTo>
                  <a:lnTo>
                    <a:pt x="58" y="370"/>
                  </a:lnTo>
                  <a:cubicBezTo>
                    <a:pt x="173" y="293"/>
                    <a:pt x="218" y="153"/>
                    <a:pt x="321" y="65"/>
                  </a:cubicBezTo>
                  <a:lnTo>
                    <a:pt x="306" y="62"/>
                  </a:lnTo>
                  <a:cubicBezTo>
                    <a:pt x="303" y="61"/>
                    <a:pt x="303" y="61"/>
                    <a:pt x="303" y="58"/>
                  </a:cubicBezTo>
                  <a:lnTo>
                    <a:pt x="306" y="37"/>
                  </a:lnTo>
                  <a:cubicBezTo>
                    <a:pt x="211" y="133"/>
                    <a:pt x="158" y="292"/>
                    <a:pt x="50" y="360"/>
                  </a:cubicBezTo>
                  <a:cubicBezTo>
                    <a:pt x="53" y="363"/>
                    <a:pt x="55" y="366"/>
                    <a:pt x="58" y="370"/>
                  </a:cubicBezTo>
                  <a:lnTo>
                    <a:pt x="58" y="370"/>
                  </a:lnTo>
                  <a:close/>
                  <a:moveTo>
                    <a:pt x="325" y="18"/>
                  </a:moveTo>
                  <a:lnTo>
                    <a:pt x="325" y="18"/>
                  </a:lnTo>
                  <a:cubicBezTo>
                    <a:pt x="321" y="22"/>
                    <a:pt x="316" y="26"/>
                    <a:pt x="312" y="30"/>
                  </a:cubicBezTo>
                  <a:lnTo>
                    <a:pt x="309" y="57"/>
                  </a:lnTo>
                  <a:lnTo>
                    <a:pt x="327" y="60"/>
                  </a:lnTo>
                  <a:cubicBezTo>
                    <a:pt x="330" y="58"/>
                    <a:pt x="333" y="55"/>
                    <a:pt x="337" y="52"/>
                  </a:cubicBezTo>
                  <a:lnTo>
                    <a:pt x="334" y="46"/>
                  </a:lnTo>
                  <a:cubicBezTo>
                    <a:pt x="329" y="47"/>
                    <a:pt x="324" y="45"/>
                    <a:pt x="322" y="40"/>
                  </a:cubicBezTo>
                  <a:cubicBezTo>
                    <a:pt x="320" y="34"/>
                    <a:pt x="323" y="29"/>
                    <a:pt x="328" y="27"/>
                  </a:cubicBezTo>
                  <a:lnTo>
                    <a:pt x="325" y="18"/>
                  </a:lnTo>
                  <a:lnTo>
                    <a:pt x="325" y="18"/>
                  </a:lnTo>
                  <a:close/>
                  <a:moveTo>
                    <a:pt x="75" y="317"/>
                  </a:moveTo>
                  <a:lnTo>
                    <a:pt x="75" y="317"/>
                  </a:lnTo>
                  <a:cubicBezTo>
                    <a:pt x="64" y="328"/>
                    <a:pt x="53" y="338"/>
                    <a:pt x="41" y="347"/>
                  </a:cubicBezTo>
                  <a:lnTo>
                    <a:pt x="41" y="348"/>
                  </a:lnTo>
                  <a:cubicBezTo>
                    <a:pt x="43" y="351"/>
                    <a:pt x="45" y="353"/>
                    <a:pt x="47" y="355"/>
                  </a:cubicBezTo>
                  <a:cubicBezTo>
                    <a:pt x="103" y="320"/>
                    <a:pt x="145" y="259"/>
                    <a:pt x="186" y="194"/>
                  </a:cubicBezTo>
                  <a:cubicBezTo>
                    <a:pt x="221" y="138"/>
                    <a:pt x="259" y="75"/>
                    <a:pt x="307" y="27"/>
                  </a:cubicBezTo>
                  <a:cubicBezTo>
                    <a:pt x="307" y="27"/>
                    <a:pt x="308" y="27"/>
                    <a:pt x="308" y="26"/>
                  </a:cubicBezTo>
                  <a:cubicBezTo>
                    <a:pt x="313" y="22"/>
                    <a:pt x="318" y="17"/>
                    <a:pt x="323" y="13"/>
                  </a:cubicBezTo>
                  <a:lnTo>
                    <a:pt x="319" y="0"/>
                  </a:lnTo>
                  <a:cubicBezTo>
                    <a:pt x="300" y="15"/>
                    <a:pt x="283" y="33"/>
                    <a:pt x="267" y="52"/>
                  </a:cubicBezTo>
                  <a:cubicBezTo>
                    <a:pt x="267" y="52"/>
                    <a:pt x="267" y="53"/>
                    <a:pt x="267" y="53"/>
                  </a:cubicBezTo>
                  <a:cubicBezTo>
                    <a:pt x="236" y="90"/>
                    <a:pt x="210" y="132"/>
                    <a:pt x="185" y="171"/>
                  </a:cubicBezTo>
                  <a:cubicBezTo>
                    <a:pt x="172" y="191"/>
                    <a:pt x="159" y="21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39" y="241"/>
                    <a:pt x="133" y="249"/>
                    <a:pt x="127" y="256"/>
                  </a:cubicBezTo>
                  <a:cubicBezTo>
                    <a:pt x="127" y="257"/>
                    <a:pt x="127" y="257"/>
                    <a:pt x="127" y="257"/>
                  </a:cubicBezTo>
                  <a:cubicBezTo>
                    <a:pt x="122" y="263"/>
                    <a:pt x="118" y="269"/>
                    <a:pt x="114" y="274"/>
                  </a:cubicBezTo>
                  <a:cubicBezTo>
                    <a:pt x="113" y="274"/>
                    <a:pt x="113" y="275"/>
                    <a:pt x="113" y="275"/>
                  </a:cubicBezTo>
                  <a:cubicBezTo>
                    <a:pt x="107" y="283"/>
                    <a:pt x="100" y="291"/>
                    <a:pt x="93" y="298"/>
                  </a:cubicBezTo>
                  <a:cubicBezTo>
                    <a:pt x="93" y="299"/>
                    <a:pt x="93" y="299"/>
                    <a:pt x="92" y="299"/>
                  </a:cubicBezTo>
                  <a:cubicBezTo>
                    <a:pt x="87" y="305"/>
                    <a:pt x="81" y="311"/>
                    <a:pt x="75" y="317"/>
                  </a:cubicBezTo>
                  <a:lnTo>
                    <a:pt x="75" y="317"/>
                  </a:lnTo>
                  <a:lnTo>
                    <a:pt x="75" y="317"/>
                  </a:lnTo>
                  <a:close/>
                  <a:moveTo>
                    <a:pt x="73" y="312"/>
                  </a:moveTo>
                  <a:lnTo>
                    <a:pt x="73" y="312"/>
                  </a:lnTo>
                  <a:cubicBezTo>
                    <a:pt x="77" y="307"/>
                    <a:pt x="81" y="303"/>
                    <a:pt x="85" y="299"/>
                  </a:cubicBezTo>
                  <a:cubicBezTo>
                    <a:pt x="59" y="295"/>
                    <a:pt x="44" y="282"/>
                    <a:pt x="39" y="267"/>
                  </a:cubicBezTo>
                  <a:cubicBezTo>
                    <a:pt x="35" y="270"/>
                    <a:pt x="32" y="273"/>
                    <a:pt x="29" y="274"/>
                  </a:cubicBezTo>
                  <a:cubicBezTo>
                    <a:pt x="30" y="276"/>
                    <a:pt x="31" y="277"/>
                    <a:pt x="31" y="279"/>
                  </a:cubicBezTo>
                  <a:cubicBezTo>
                    <a:pt x="32" y="279"/>
                    <a:pt x="32" y="279"/>
                    <a:pt x="32" y="280"/>
                  </a:cubicBezTo>
                  <a:cubicBezTo>
                    <a:pt x="43" y="297"/>
                    <a:pt x="55" y="302"/>
                    <a:pt x="73" y="312"/>
                  </a:cubicBezTo>
                  <a:lnTo>
                    <a:pt x="73" y="312"/>
                  </a:lnTo>
                  <a:close/>
                  <a:moveTo>
                    <a:pt x="90" y="294"/>
                  </a:moveTo>
                  <a:lnTo>
                    <a:pt x="90" y="294"/>
                  </a:lnTo>
                  <a:cubicBezTo>
                    <a:pt x="94" y="289"/>
                    <a:pt x="98" y="284"/>
                    <a:pt x="102" y="279"/>
                  </a:cubicBezTo>
                  <a:cubicBezTo>
                    <a:pt x="54" y="293"/>
                    <a:pt x="24" y="217"/>
                    <a:pt x="106" y="186"/>
                  </a:cubicBezTo>
                  <a:cubicBezTo>
                    <a:pt x="100" y="184"/>
                    <a:pt x="94" y="182"/>
                    <a:pt x="88" y="179"/>
                  </a:cubicBezTo>
                  <a:cubicBezTo>
                    <a:pt x="35" y="203"/>
                    <a:pt x="17" y="284"/>
                    <a:pt x="90" y="294"/>
                  </a:cubicBezTo>
                  <a:lnTo>
                    <a:pt x="90" y="294"/>
                  </a:lnTo>
                  <a:close/>
                  <a:moveTo>
                    <a:pt x="110" y="270"/>
                  </a:moveTo>
                  <a:lnTo>
                    <a:pt x="110" y="270"/>
                  </a:lnTo>
                  <a:cubicBezTo>
                    <a:pt x="114" y="265"/>
                    <a:pt x="118" y="260"/>
                    <a:pt x="122" y="254"/>
                  </a:cubicBezTo>
                  <a:cubicBezTo>
                    <a:pt x="124" y="240"/>
                    <a:pt x="120" y="224"/>
                    <a:pt x="103" y="216"/>
                  </a:cubicBezTo>
                  <a:cubicBezTo>
                    <a:pt x="98" y="219"/>
                    <a:pt x="93" y="222"/>
                    <a:pt x="89" y="226"/>
                  </a:cubicBezTo>
                  <a:cubicBezTo>
                    <a:pt x="115" y="230"/>
                    <a:pt x="115" y="263"/>
                    <a:pt x="91" y="263"/>
                  </a:cubicBezTo>
                  <a:cubicBezTo>
                    <a:pt x="72" y="263"/>
                    <a:pt x="73" y="239"/>
                    <a:pt x="81" y="227"/>
                  </a:cubicBezTo>
                  <a:cubicBezTo>
                    <a:pt x="81" y="227"/>
                    <a:pt x="82" y="226"/>
                    <a:pt x="82" y="226"/>
                  </a:cubicBezTo>
                  <a:lnTo>
                    <a:pt x="82" y="226"/>
                  </a:lnTo>
                  <a:cubicBezTo>
                    <a:pt x="86" y="221"/>
                    <a:pt x="92" y="216"/>
                    <a:pt x="101" y="211"/>
                  </a:cubicBezTo>
                  <a:cubicBezTo>
                    <a:pt x="101" y="211"/>
                    <a:pt x="101" y="211"/>
                    <a:pt x="102" y="211"/>
                  </a:cubicBezTo>
                  <a:cubicBezTo>
                    <a:pt x="108" y="208"/>
                    <a:pt x="116" y="205"/>
                    <a:pt x="125" y="203"/>
                  </a:cubicBezTo>
                  <a:cubicBezTo>
                    <a:pt x="125" y="202"/>
                    <a:pt x="126" y="202"/>
                    <a:pt x="126" y="202"/>
                  </a:cubicBezTo>
                  <a:cubicBezTo>
                    <a:pt x="131" y="201"/>
                    <a:pt x="137" y="200"/>
                    <a:pt x="144" y="199"/>
                  </a:cubicBezTo>
                  <a:cubicBezTo>
                    <a:pt x="139" y="197"/>
                    <a:pt x="133" y="195"/>
                    <a:pt x="127" y="193"/>
                  </a:cubicBezTo>
                  <a:cubicBezTo>
                    <a:pt x="123" y="192"/>
                    <a:pt x="119" y="190"/>
                    <a:pt x="115" y="189"/>
                  </a:cubicBezTo>
                  <a:cubicBezTo>
                    <a:pt x="26" y="218"/>
                    <a:pt x="62" y="296"/>
                    <a:pt x="110" y="270"/>
                  </a:cubicBezTo>
                  <a:lnTo>
                    <a:pt x="110" y="270"/>
                  </a:lnTo>
                  <a:close/>
                  <a:moveTo>
                    <a:pt x="128" y="246"/>
                  </a:moveTo>
                  <a:lnTo>
                    <a:pt x="128" y="246"/>
                  </a:lnTo>
                  <a:cubicBezTo>
                    <a:pt x="132" y="241"/>
                    <a:pt x="136" y="235"/>
                    <a:pt x="140" y="230"/>
                  </a:cubicBezTo>
                  <a:cubicBezTo>
                    <a:pt x="139" y="225"/>
                    <a:pt x="133" y="215"/>
                    <a:pt x="125" y="208"/>
                  </a:cubicBezTo>
                  <a:cubicBezTo>
                    <a:pt x="120" y="210"/>
                    <a:pt x="114" y="211"/>
                    <a:pt x="109" y="214"/>
                  </a:cubicBezTo>
                  <a:cubicBezTo>
                    <a:pt x="123" y="221"/>
                    <a:pt x="128" y="234"/>
                    <a:pt x="128" y="246"/>
                  </a:cubicBezTo>
                  <a:lnTo>
                    <a:pt x="128" y="246"/>
                  </a:lnTo>
                  <a:close/>
                  <a:moveTo>
                    <a:pt x="144" y="224"/>
                  </a:moveTo>
                  <a:lnTo>
                    <a:pt x="144" y="224"/>
                  </a:lnTo>
                  <a:cubicBezTo>
                    <a:pt x="148" y="218"/>
                    <a:pt x="152" y="212"/>
                    <a:pt x="156" y="206"/>
                  </a:cubicBezTo>
                  <a:cubicBezTo>
                    <a:pt x="155" y="205"/>
                    <a:pt x="154" y="205"/>
                    <a:pt x="153" y="204"/>
                  </a:cubicBezTo>
                  <a:cubicBezTo>
                    <a:pt x="147" y="205"/>
                    <a:pt x="140" y="205"/>
                    <a:pt x="132" y="207"/>
                  </a:cubicBezTo>
                  <a:cubicBezTo>
                    <a:pt x="137" y="212"/>
                    <a:pt x="141" y="219"/>
                    <a:pt x="144" y="224"/>
                  </a:cubicBezTo>
                  <a:lnTo>
                    <a:pt x="144" y="224"/>
                  </a:lnTo>
                  <a:close/>
                  <a:moveTo>
                    <a:pt x="159" y="202"/>
                  </a:moveTo>
                  <a:lnTo>
                    <a:pt x="159" y="202"/>
                  </a:lnTo>
                  <a:cubicBezTo>
                    <a:pt x="163" y="195"/>
                    <a:pt x="167" y="189"/>
                    <a:pt x="171" y="183"/>
                  </a:cubicBezTo>
                  <a:cubicBezTo>
                    <a:pt x="156" y="179"/>
                    <a:pt x="127" y="181"/>
                    <a:pt x="110" y="181"/>
                  </a:cubicBezTo>
                  <a:cubicBezTo>
                    <a:pt x="116" y="184"/>
                    <a:pt x="122" y="186"/>
                    <a:pt x="129" y="188"/>
                  </a:cubicBezTo>
                  <a:cubicBezTo>
                    <a:pt x="138" y="191"/>
                    <a:pt x="147" y="194"/>
                    <a:pt x="154" y="199"/>
                  </a:cubicBezTo>
                  <a:cubicBezTo>
                    <a:pt x="155" y="199"/>
                    <a:pt x="155" y="199"/>
                    <a:pt x="155" y="199"/>
                  </a:cubicBezTo>
                  <a:cubicBezTo>
                    <a:pt x="156" y="200"/>
                    <a:pt x="158" y="201"/>
                    <a:pt x="159" y="202"/>
                  </a:cubicBezTo>
                  <a:lnTo>
                    <a:pt x="159" y="202"/>
                  </a:lnTo>
                  <a:close/>
                  <a:moveTo>
                    <a:pt x="174" y="178"/>
                  </a:moveTo>
                  <a:lnTo>
                    <a:pt x="174" y="178"/>
                  </a:lnTo>
                  <a:cubicBezTo>
                    <a:pt x="177" y="173"/>
                    <a:pt x="180" y="169"/>
                    <a:pt x="183" y="164"/>
                  </a:cubicBezTo>
                  <a:cubicBezTo>
                    <a:pt x="166" y="159"/>
                    <a:pt x="138" y="160"/>
                    <a:pt x="121" y="160"/>
                  </a:cubicBezTo>
                  <a:cubicBezTo>
                    <a:pt x="100" y="161"/>
                    <a:pt x="79" y="161"/>
                    <a:pt x="62" y="157"/>
                  </a:cubicBezTo>
                  <a:cubicBezTo>
                    <a:pt x="71" y="165"/>
                    <a:pt x="82" y="170"/>
                    <a:pt x="94" y="175"/>
                  </a:cubicBezTo>
                  <a:cubicBezTo>
                    <a:pt x="102" y="177"/>
                    <a:pt x="123" y="175"/>
                    <a:pt x="130" y="175"/>
                  </a:cubicBezTo>
                  <a:cubicBezTo>
                    <a:pt x="146" y="175"/>
                    <a:pt x="163" y="175"/>
                    <a:pt x="174" y="178"/>
                  </a:cubicBezTo>
                  <a:lnTo>
                    <a:pt x="174" y="178"/>
                  </a:lnTo>
                  <a:close/>
                  <a:moveTo>
                    <a:pt x="186" y="159"/>
                  </a:moveTo>
                  <a:lnTo>
                    <a:pt x="186" y="159"/>
                  </a:lnTo>
                  <a:cubicBezTo>
                    <a:pt x="188" y="155"/>
                    <a:pt x="191" y="152"/>
                    <a:pt x="193" y="148"/>
                  </a:cubicBezTo>
                  <a:cubicBezTo>
                    <a:pt x="171" y="139"/>
                    <a:pt x="136" y="142"/>
                    <a:pt x="113" y="142"/>
                  </a:cubicBezTo>
                  <a:cubicBezTo>
                    <a:pt x="87" y="142"/>
                    <a:pt x="60" y="141"/>
                    <a:pt x="43" y="126"/>
                  </a:cubicBezTo>
                  <a:cubicBezTo>
                    <a:pt x="46" y="135"/>
                    <a:pt x="50" y="142"/>
                    <a:pt x="54" y="148"/>
                  </a:cubicBezTo>
                  <a:cubicBezTo>
                    <a:pt x="80" y="159"/>
                    <a:pt x="128" y="153"/>
                    <a:pt x="158" y="155"/>
                  </a:cubicBezTo>
                  <a:cubicBezTo>
                    <a:pt x="168" y="155"/>
                    <a:pt x="178" y="156"/>
                    <a:pt x="186" y="159"/>
                  </a:cubicBezTo>
                  <a:lnTo>
                    <a:pt x="186" y="159"/>
                  </a:lnTo>
                  <a:close/>
                  <a:moveTo>
                    <a:pt x="196" y="143"/>
                  </a:moveTo>
                  <a:lnTo>
                    <a:pt x="196" y="143"/>
                  </a:lnTo>
                  <a:cubicBezTo>
                    <a:pt x="199" y="139"/>
                    <a:pt x="201" y="135"/>
                    <a:pt x="204" y="131"/>
                  </a:cubicBezTo>
                  <a:cubicBezTo>
                    <a:pt x="195" y="128"/>
                    <a:pt x="187" y="126"/>
                    <a:pt x="178" y="125"/>
                  </a:cubicBezTo>
                  <a:cubicBezTo>
                    <a:pt x="178" y="125"/>
                    <a:pt x="178" y="125"/>
                    <a:pt x="177" y="125"/>
                  </a:cubicBezTo>
                  <a:cubicBezTo>
                    <a:pt x="155" y="121"/>
                    <a:pt x="133" y="122"/>
                    <a:pt x="110" y="123"/>
                  </a:cubicBezTo>
                  <a:cubicBezTo>
                    <a:pt x="95" y="123"/>
                    <a:pt x="81" y="122"/>
                    <a:pt x="69" y="118"/>
                  </a:cubicBezTo>
                  <a:cubicBezTo>
                    <a:pt x="68" y="118"/>
                    <a:pt x="68" y="118"/>
                    <a:pt x="68" y="118"/>
                  </a:cubicBezTo>
                  <a:cubicBezTo>
                    <a:pt x="58" y="115"/>
                    <a:pt x="49" y="109"/>
                    <a:pt x="42" y="99"/>
                  </a:cubicBezTo>
                  <a:cubicBezTo>
                    <a:pt x="41" y="100"/>
                    <a:pt x="40" y="101"/>
                    <a:pt x="39" y="102"/>
                  </a:cubicBezTo>
                  <a:cubicBezTo>
                    <a:pt x="40" y="107"/>
                    <a:pt x="40" y="111"/>
                    <a:pt x="41" y="115"/>
                  </a:cubicBezTo>
                  <a:cubicBezTo>
                    <a:pt x="55" y="134"/>
                    <a:pt x="83" y="137"/>
                    <a:pt x="113" y="137"/>
                  </a:cubicBezTo>
                  <a:cubicBezTo>
                    <a:pt x="138" y="137"/>
                    <a:pt x="173" y="133"/>
                    <a:pt x="196" y="143"/>
                  </a:cubicBezTo>
                  <a:lnTo>
                    <a:pt x="196" y="143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EF7AE838-2C5B-4C20-98B8-9D018E6834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22758" y="546099"/>
              <a:ext cx="395818" cy="541866"/>
            </a:xfrm>
            <a:custGeom>
              <a:avLst/>
              <a:gdLst>
                <a:gd name="T0" fmla="*/ 366 w 366"/>
                <a:gd name="T1" fmla="*/ 110 h 496"/>
                <a:gd name="T2" fmla="*/ 303 w 366"/>
                <a:gd name="T3" fmla="*/ 97 h 496"/>
                <a:gd name="T4" fmla="*/ 328 w 366"/>
                <a:gd name="T5" fmla="*/ 122 h 496"/>
                <a:gd name="T6" fmla="*/ 47 w 366"/>
                <a:gd name="T7" fmla="*/ 454 h 496"/>
                <a:gd name="T8" fmla="*/ 91 w 366"/>
                <a:gd name="T9" fmla="*/ 402 h 496"/>
                <a:gd name="T10" fmla="*/ 89 w 366"/>
                <a:gd name="T11" fmla="*/ 397 h 496"/>
                <a:gd name="T12" fmla="*/ 47 w 366"/>
                <a:gd name="T13" fmla="*/ 454 h 496"/>
                <a:gd name="T14" fmla="*/ 101 w 366"/>
                <a:gd name="T15" fmla="*/ 421 h 496"/>
                <a:gd name="T16" fmla="*/ 119 w 366"/>
                <a:gd name="T17" fmla="*/ 448 h 496"/>
                <a:gd name="T18" fmla="*/ 69 w 366"/>
                <a:gd name="T19" fmla="*/ 471 h 496"/>
                <a:gd name="T20" fmla="*/ 101 w 366"/>
                <a:gd name="T21" fmla="*/ 421 h 496"/>
                <a:gd name="T22" fmla="*/ 82 w 366"/>
                <a:gd name="T23" fmla="*/ 381 h 496"/>
                <a:gd name="T24" fmla="*/ 28 w 366"/>
                <a:gd name="T25" fmla="*/ 378 h 496"/>
                <a:gd name="T26" fmla="*/ 7 w 366"/>
                <a:gd name="T27" fmla="*/ 362 h 496"/>
                <a:gd name="T28" fmla="*/ 6 w 366"/>
                <a:gd name="T29" fmla="*/ 357 h 496"/>
                <a:gd name="T30" fmla="*/ 68 w 366"/>
                <a:gd name="T31" fmla="*/ 329 h 496"/>
                <a:gd name="T32" fmla="*/ 67 w 366"/>
                <a:gd name="T33" fmla="*/ 324 h 496"/>
                <a:gd name="T34" fmla="*/ 6 w 366"/>
                <a:gd name="T35" fmla="*/ 357 h 496"/>
                <a:gd name="T36" fmla="*/ 0 w 366"/>
                <a:gd name="T37" fmla="*/ 302 h 496"/>
                <a:gd name="T38" fmla="*/ 15 w 366"/>
                <a:gd name="T39" fmla="*/ 284 h 496"/>
                <a:gd name="T40" fmla="*/ 67 w 366"/>
                <a:gd name="T41" fmla="*/ 267 h 496"/>
                <a:gd name="T42" fmla="*/ 0 w 366"/>
                <a:gd name="T43" fmla="*/ 302 h 496"/>
                <a:gd name="T44" fmla="*/ 68 w 366"/>
                <a:gd name="T45" fmla="*/ 262 h 496"/>
                <a:gd name="T46" fmla="*/ 23 w 366"/>
                <a:gd name="T47" fmla="*/ 228 h 496"/>
                <a:gd name="T48" fmla="*/ 17 w 366"/>
                <a:gd name="T49" fmla="*/ 202 h 496"/>
                <a:gd name="T50" fmla="*/ 19 w 366"/>
                <a:gd name="T51" fmla="*/ 196 h 496"/>
                <a:gd name="T52" fmla="*/ 82 w 366"/>
                <a:gd name="T53" fmla="*/ 213 h 496"/>
                <a:gd name="T54" fmla="*/ 84 w 366"/>
                <a:gd name="T55" fmla="*/ 208 h 496"/>
                <a:gd name="T56" fmla="*/ 19 w 366"/>
                <a:gd name="T57" fmla="*/ 196 h 496"/>
                <a:gd name="T58" fmla="*/ 40 w 366"/>
                <a:gd name="T59" fmla="*/ 149 h 496"/>
                <a:gd name="T60" fmla="*/ 60 w 366"/>
                <a:gd name="T61" fmla="*/ 142 h 496"/>
                <a:gd name="T62" fmla="*/ 111 w 366"/>
                <a:gd name="T63" fmla="*/ 162 h 496"/>
                <a:gd name="T64" fmla="*/ 40 w 366"/>
                <a:gd name="T65" fmla="*/ 149 h 496"/>
                <a:gd name="T66" fmla="*/ 114 w 366"/>
                <a:gd name="T67" fmla="*/ 157 h 496"/>
                <a:gd name="T68" fmla="*/ 95 w 366"/>
                <a:gd name="T69" fmla="*/ 99 h 496"/>
                <a:gd name="T70" fmla="*/ 102 w 366"/>
                <a:gd name="T71" fmla="*/ 72 h 496"/>
                <a:gd name="T72" fmla="*/ 106 w 366"/>
                <a:gd name="T73" fmla="*/ 69 h 496"/>
                <a:gd name="T74" fmla="*/ 150 w 366"/>
                <a:gd name="T75" fmla="*/ 121 h 496"/>
                <a:gd name="T76" fmla="*/ 155 w 366"/>
                <a:gd name="T77" fmla="*/ 117 h 496"/>
                <a:gd name="T78" fmla="*/ 106 w 366"/>
                <a:gd name="T79" fmla="*/ 69 h 496"/>
                <a:gd name="T80" fmla="*/ 149 w 366"/>
                <a:gd name="T81" fmla="*/ 37 h 496"/>
                <a:gd name="T82" fmla="*/ 170 w 366"/>
                <a:gd name="T83" fmla="*/ 42 h 496"/>
                <a:gd name="T84" fmla="*/ 200 w 366"/>
                <a:gd name="T85" fmla="*/ 90 h 496"/>
                <a:gd name="T86" fmla="*/ 149 w 366"/>
                <a:gd name="T87" fmla="*/ 37 h 496"/>
                <a:gd name="T88" fmla="*/ 206 w 366"/>
                <a:gd name="T89" fmla="*/ 88 h 496"/>
                <a:gd name="T90" fmla="*/ 222 w 366"/>
                <a:gd name="T91" fmla="*/ 21 h 496"/>
                <a:gd name="T92" fmla="*/ 243 w 366"/>
                <a:gd name="T93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66" h="496">
                  <a:moveTo>
                    <a:pt x="358" y="119"/>
                  </a:moveTo>
                  <a:lnTo>
                    <a:pt x="358" y="119"/>
                  </a:lnTo>
                  <a:cubicBezTo>
                    <a:pt x="360" y="116"/>
                    <a:pt x="363" y="113"/>
                    <a:pt x="366" y="110"/>
                  </a:cubicBezTo>
                  <a:cubicBezTo>
                    <a:pt x="351" y="105"/>
                    <a:pt x="337" y="102"/>
                    <a:pt x="323" y="99"/>
                  </a:cubicBezTo>
                  <a:cubicBezTo>
                    <a:pt x="323" y="99"/>
                    <a:pt x="322" y="99"/>
                    <a:pt x="322" y="99"/>
                  </a:cubicBezTo>
                  <a:cubicBezTo>
                    <a:pt x="316" y="98"/>
                    <a:pt x="309" y="98"/>
                    <a:pt x="303" y="97"/>
                  </a:cubicBezTo>
                  <a:cubicBezTo>
                    <a:pt x="305" y="101"/>
                    <a:pt x="307" y="106"/>
                    <a:pt x="307" y="112"/>
                  </a:cubicBezTo>
                  <a:cubicBezTo>
                    <a:pt x="310" y="115"/>
                    <a:pt x="312" y="119"/>
                    <a:pt x="312" y="123"/>
                  </a:cubicBezTo>
                  <a:cubicBezTo>
                    <a:pt x="316" y="121"/>
                    <a:pt x="322" y="120"/>
                    <a:pt x="328" y="122"/>
                  </a:cubicBezTo>
                  <a:cubicBezTo>
                    <a:pt x="333" y="111"/>
                    <a:pt x="348" y="109"/>
                    <a:pt x="358" y="119"/>
                  </a:cubicBezTo>
                  <a:lnTo>
                    <a:pt x="358" y="119"/>
                  </a:lnTo>
                  <a:close/>
                  <a:moveTo>
                    <a:pt x="47" y="454"/>
                  </a:moveTo>
                  <a:lnTo>
                    <a:pt x="47" y="454"/>
                  </a:lnTo>
                  <a:lnTo>
                    <a:pt x="98" y="416"/>
                  </a:lnTo>
                  <a:cubicBezTo>
                    <a:pt x="96" y="411"/>
                    <a:pt x="93" y="407"/>
                    <a:pt x="91" y="402"/>
                  </a:cubicBezTo>
                  <a:lnTo>
                    <a:pt x="48" y="429"/>
                  </a:lnTo>
                  <a:cubicBezTo>
                    <a:pt x="45" y="431"/>
                    <a:pt x="42" y="426"/>
                    <a:pt x="45" y="424"/>
                  </a:cubicBezTo>
                  <a:lnTo>
                    <a:pt x="89" y="397"/>
                  </a:lnTo>
                  <a:cubicBezTo>
                    <a:pt x="87" y="394"/>
                    <a:pt x="85" y="390"/>
                    <a:pt x="84" y="386"/>
                  </a:cubicBezTo>
                  <a:lnTo>
                    <a:pt x="25" y="414"/>
                  </a:lnTo>
                  <a:cubicBezTo>
                    <a:pt x="31" y="427"/>
                    <a:pt x="38" y="441"/>
                    <a:pt x="47" y="454"/>
                  </a:cubicBezTo>
                  <a:lnTo>
                    <a:pt x="47" y="454"/>
                  </a:lnTo>
                  <a:close/>
                  <a:moveTo>
                    <a:pt x="101" y="421"/>
                  </a:moveTo>
                  <a:lnTo>
                    <a:pt x="101" y="421"/>
                  </a:lnTo>
                  <a:lnTo>
                    <a:pt x="50" y="459"/>
                  </a:lnTo>
                  <a:cubicBezTo>
                    <a:pt x="58" y="472"/>
                    <a:pt x="68" y="484"/>
                    <a:pt x="79" y="496"/>
                  </a:cubicBezTo>
                  <a:lnTo>
                    <a:pt x="119" y="448"/>
                  </a:lnTo>
                  <a:cubicBezTo>
                    <a:pt x="116" y="445"/>
                    <a:pt x="114" y="441"/>
                    <a:pt x="111" y="437"/>
                  </a:cubicBezTo>
                  <a:lnTo>
                    <a:pt x="73" y="475"/>
                  </a:lnTo>
                  <a:cubicBezTo>
                    <a:pt x="70" y="478"/>
                    <a:pt x="67" y="474"/>
                    <a:pt x="69" y="471"/>
                  </a:cubicBezTo>
                  <a:lnTo>
                    <a:pt x="108" y="433"/>
                  </a:lnTo>
                  <a:cubicBezTo>
                    <a:pt x="106" y="429"/>
                    <a:pt x="103" y="425"/>
                    <a:pt x="101" y="421"/>
                  </a:cubicBezTo>
                  <a:lnTo>
                    <a:pt x="101" y="421"/>
                  </a:lnTo>
                  <a:close/>
                  <a:moveTo>
                    <a:pt x="23" y="408"/>
                  </a:moveTo>
                  <a:lnTo>
                    <a:pt x="23" y="408"/>
                  </a:lnTo>
                  <a:lnTo>
                    <a:pt x="82" y="381"/>
                  </a:lnTo>
                  <a:cubicBezTo>
                    <a:pt x="80" y="377"/>
                    <a:pt x="79" y="373"/>
                    <a:pt x="78" y="369"/>
                  </a:cubicBezTo>
                  <a:lnTo>
                    <a:pt x="29" y="384"/>
                  </a:lnTo>
                  <a:cubicBezTo>
                    <a:pt x="26" y="385"/>
                    <a:pt x="24" y="379"/>
                    <a:pt x="28" y="378"/>
                  </a:cubicBezTo>
                  <a:lnTo>
                    <a:pt x="76" y="364"/>
                  </a:lnTo>
                  <a:cubicBezTo>
                    <a:pt x="74" y="359"/>
                    <a:pt x="73" y="354"/>
                    <a:pt x="72" y="348"/>
                  </a:cubicBezTo>
                  <a:lnTo>
                    <a:pt x="7" y="362"/>
                  </a:lnTo>
                  <a:cubicBezTo>
                    <a:pt x="11" y="378"/>
                    <a:pt x="16" y="393"/>
                    <a:pt x="23" y="408"/>
                  </a:cubicBezTo>
                  <a:lnTo>
                    <a:pt x="23" y="408"/>
                  </a:lnTo>
                  <a:close/>
                  <a:moveTo>
                    <a:pt x="6" y="357"/>
                  </a:moveTo>
                  <a:lnTo>
                    <a:pt x="6" y="357"/>
                  </a:lnTo>
                  <a:lnTo>
                    <a:pt x="70" y="343"/>
                  </a:lnTo>
                  <a:cubicBezTo>
                    <a:pt x="69" y="338"/>
                    <a:pt x="69" y="334"/>
                    <a:pt x="68" y="329"/>
                  </a:cubicBezTo>
                  <a:lnTo>
                    <a:pt x="17" y="334"/>
                  </a:lnTo>
                  <a:cubicBezTo>
                    <a:pt x="13" y="334"/>
                    <a:pt x="13" y="329"/>
                    <a:pt x="16" y="328"/>
                  </a:cubicBezTo>
                  <a:lnTo>
                    <a:pt x="67" y="324"/>
                  </a:lnTo>
                  <a:cubicBezTo>
                    <a:pt x="66" y="319"/>
                    <a:pt x="66" y="314"/>
                    <a:pt x="66" y="308"/>
                  </a:cubicBezTo>
                  <a:lnTo>
                    <a:pt x="0" y="307"/>
                  </a:lnTo>
                  <a:cubicBezTo>
                    <a:pt x="1" y="324"/>
                    <a:pt x="3" y="340"/>
                    <a:pt x="6" y="357"/>
                  </a:cubicBezTo>
                  <a:lnTo>
                    <a:pt x="6" y="357"/>
                  </a:lnTo>
                  <a:close/>
                  <a:moveTo>
                    <a:pt x="0" y="302"/>
                  </a:moveTo>
                  <a:lnTo>
                    <a:pt x="0" y="302"/>
                  </a:lnTo>
                  <a:lnTo>
                    <a:pt x="66" y="303"/>
                  </a:lnTo>
                  <a:cubicBezTo>
                    <a:pt x="65" y="298"/>
                    <a:pt x="65" y="294"/>
                    <a:pt x="66" y="290"/>
                  </a:cubicBezTo>
                  <a:lnTo>
                    <a:pt x="15" y="284"/>
                  </a:lnTo>
                  <a:cubicBezTo>
                    <a:pt x="11" y="284"/>
                    <a:pt x="12" y="278"/>
                    <a:pt x="16" y="278"/>
                  </a:cubicBezTo>
                  <a:lnTo>
                    <a:pt x="66" y="284"/>
                  </a:lnTo>
                  <a:cubicBezTo>
                    <a:pt x="66" y="278"/>
                    <a:pt x="67" y="273"/>
                    <a:pt x="67" y="267"/>
                  </a:cubicBezTo>
                  <a:lnTo>
                    <a:pt x="4" y="254"/>
                  </a:lnTo>
                  <a:cubicBezTo>
                    <a:pt x="1" y="270"/>
                    <a:pt x="0" y="286"/>
                    <a:pt x="0" y="302"/>
                  </a:cubicBezTo>
                  <a:lnTo>
                    <a:pt x="0" y="30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68" y="262"/>
                  </a:lnTo>
                  <a:cubicBezTo>
                    <a:pt x="69" y="257"/>
                    <a:pt x="70" y="253"/>
                    <a:pt x="71" y="249"/>
                  </a:cubicBezTo>
                  <a:lnTo>
                    <a:pt x="22" y="233"/>
                  </a:lnTo>
                  <a:cubicBezTo>
                    <a:pt x="18" y="232"/>
                    <a:pt x="20" y="227"/>
                    <a:pt x="23" y="228"/>
                  </a:cubicBezTo>
                  <a:lnTo>
                    <a:pt x="72" y="243"/>
                  </a:lnTo>
                  <a:cubicBezTo>
                    <a:pt x="73" y="239"/>
                    <a:pt x="74" y="235"/>
                    <a:pt x="75" y="231"/>
                  </a:cubicBezTo>
                  <a:lnTo>
                    <a:pt x="17" y="202"/>
                  </a:lnTo>
                  <a:cubicBezTo>
                    <a:pt x="11" y="217"/>
                    <a:pt x="7" y="233"/>
                    <a:pt x="4" y="249"/>
                  </a:cubicBezTo>
                  <a:lnTo>
                    <a:pt x="4" y="249"/>
                  </a:lnTo>
                  <a:close/>
                  <a:moveTo>
                    <a:pt x="19" y="196"/>
                  </a:moveTo>
                  <a:lnTo>
                    <a:pt x="19" y="196"/>
                  </a:lnTo>
                  <a:lnTo>
                    <a:pt x="77" y="225"/>
                  </a:lnTo>
                  <a:cubicBezTo>
                    <a:pt x="79" y="221"/>
                    <a:pt x="80" y="217"/>
                    <a:pt x="82" y="213"/>
                  </a:cubicBezTo>
                  <a:lnTo>
                    <a:pt x="37" y="186"/>
                  </a:lnTo>
                  <a:cubicBezTo>
                    <a:pt x="34" y="184"/>
                    <a:pt x="37" y="179"/>
                    <a:pt x="40" y="181"/>
                  </a:cubicBezTo>
                  <a:lnTo>
                    <a:pt x="84" y="208"/>
                  </a:lnTo>
                  <a:cubicBezTo>
                    <a:pt x="86" y="203"/>
                    <a:pt x="88" y="199"/>
                    <a:pt x="90" y="195"/>
                  </a:cubicBezTo>
                  <a:lnTo>
                    <a:pt x="38" y="154"/>
                  </a:lnTo>
                  <a:cubicBezTo>
                    <a:pt x="30" y="168"/>
                    <a:pt x="24" y="182"/>
                    <a:pt x="19" y="196"/>
                  </a:cubicBezTo>
                  <a:lnTo>
                    <a:pt x="19" y="196"/>
                  </a:lnTo>
                  <a:close/>
                  <a:moveTo>
                    <a:pt x="40" y="149"/>
                  </a:moveTo>
                  <a:lnTo>
                    <a:pt x="40" y="149"/>
                  </a:lnTo>
                  <a:lnTo>
                    <a:pt x="93" y="190"/>
                  </a:lnTo>
                  <a:cubicBezTo>
                    <a:pt x="95" y="186"/>
                    <a:pt x="97" y="183"/>
                    <a:pt x="99" y="179"/>
                  </a:cubicBezTo>
                  <a:lnTo>
                    <a:pt x="60" y="142"/>
                  </a:lnTo>
                  <a:cubicBezTo>
                    <a:pt x="58" y="140"/>
                    <a:pt x="62" y="136"/>
                    <a:pt x="64" y="138"/>
                  </a:cubicBezTo>
                  <a:lnTo>
                    <a:pt x="102" y="174"/>
                  </a:lnTo>
                  <a:cubicBezTo>
                    <a:pt x="105" y="170"/>
                    <a:pt x="108" y="166"/>
                    <a:pt x="111" y="162"/>
                  </a:cubicBezTo>
                  <a:lnTo>
                    <a:pt x="67" y="111"/>
                  </a:lnTo>
                  <a:cubicBezTo>
                    <a:pt x="57" y="123"/>
                    <a:pt x="48" y="136"/>
                    <a:pt x="40" y="149"/>
                  </a:cubicBezTo>
                  <a:lnTo>
                    <a:pt x="40" y="149"/>
                  </a:lnTo>
                  <a:close/>
                  <a:moveTo>
                    <a:pt x="70" y="106"/>
                  </a:moveTo>
                  <a:lnTo>
                    <a:pt x="70" y="106"/>
                  </a:lnTo>
                  <a:lnTo>
                    <a:pt x="114" y="157"/>
                  </a:lnTo>
                  <a:cubicBezTo>
                    <a:pt x="117" y="154"/>
                    <a:pt x="120" y="150"/>
                    <a:pt x="123" y="147"/>
                  </a:cubicBezTo>
                  <a:lnTo>
                    <a:pt x="90" y="102"/>
                  </a:lnTo>
                  <a:cubicBezTo>
                    <a:pt x="88" y="99"/>
                    <a:pt x="93" y="96"/>
                    <a:pt x="95" y="99"/>
                  </a:cubicBezTo>
                  <a:lnTo>
                    <a:pt x="127" y="143"/>
                  </a:lnTo>
                  <a:cubicBezTo>
                    <a:pt x="130" y="139"/>
                    <a:pt x="133" y="136"/>
                    <a:pt x="137" y="133"/>
                  </a:cubicBezTo>
                  <a:lnTo>
                    <a:pt x="102" y="72"/>
                  </a:lnTo>
                  <a:cubicBezTo>
                    <a:pt x="91" y="83"/>
                    <a:pt x="80" y="94"/>
                    <a:pt x="70" y="106"/>
                  </a:cubicBezTo>
                  <a:lnTo>
                    <a:pt x="70" y="106"/>
                  </a:lnTo>
                  <a:close/>
                  <a:moveTo>
                    <a:pt x="106" y="69"/>
                  </a:moveTo>
                  <a:lnTo>
                    <a:pt x="106" y="69"/>
                  </a:lnTo>
                  <a:lnTo>
                    <a:pt x="141" y="129"/>
                  </a:lnTo>
                  <a:cubicBezTo>
                    <a:pt x="144" y="126"/>
                    <a:pt x="147" y="123"/>
                    <a:pt x="150" y="121"/>
                  </a:cubicBezTo>
                  <a:lnTo>
                    <a:pt x="127" y="68"/>
                  </a:lnTo>
                  <a:cubicBezTo>
                    <a:pt x="126" y="64"/>
                    <a:pt x="131" y="62"/>
                    <a:pt x="133" y="66"/>
                  </a:cubicBezTo>
                  <a:lnTo>
                    <a:pt x="155" y="117"/>
                  </a:lnTo>
                  <a:cubicBezTo>
                    <a:pt x="159" y="114"/>
                    <a:pt x="163" y="111"/>
                    <a:pt x="167" y="108"/>
                  </a:cubicBezTo>
                  <a:lnTo>
                    <a:pt x="144" y="40"/>
                  </a:lnTo>
                  <a:cubicBezTo>
                    <a:pt x="131" y="49"/>
                    <a:pt x="118" y="58"/>
                    <a:pt x="106" y="69"/>
                  </a:cubicBezTo>
                  <a:lnTo>
                    <a:pt x="106" y="69"/>
                  </a:lnTo>
                  <a:close/>
                  <a:moveTo>
                    <a:pt x="149" y="37"/>
                  </a:moveTo>
                  <a:lnTo>
                    <a:pt x="149" y="37"/>
                  </a:lnTo>
                  <a:lnTo>
                    <a:pt x="172" y="105"/>
                  </a:lnTo>
                  <a:cubicBezTo>
                    <a:pt x="176" y="103"/>
                    <a:pt x="179" y="101"/>
                    <a:pt x="183" y="99"/>
                  </a:cubicBezTo>
                  <a:lnTo>
                    <a:pt x="170" y="42"/>
                  </a:lnTo>
                  <a:cubicBezTo>
                    <a:pt x="169" y="38"/>
                    <a:pt x="174" y="37"/>
                    <a:pt x="175" y="40"/>
                  </a:cubicBezTo>
                  <a:lnTo>
                    <a:pt x="188" y="96"/>
                  </a:lnTo>
                  <a:cubicBezTo>
                    <a:pt x="192" y="94"/>
                    <a:pt x="196" y="92"/>
                    <a:pt x="200" y="90"/>
                  </a:cubicBezTo>
                  <a:lnTo>
                    <a:pt x="191" y="16"/>
                  </a:lnTo>
                  <a:cubicBezTo>
                    <a:pt x="176" y="22"/>
                    <a:pt x="162" y="29"/>
                    <a:pt x="149" y="37"/>
                  </a:cubicBezTo>
                  <a:lnTo>
                    <a:pt x="149" y="37"/>
                  </a:lnTo>
                  <a:close/>
                  <a:moveTo>
                    <a:pt x="196" y="14"/>
                  </a:moveTo>
                  <a:lnTo>
                    <a:pt x="196" y="14"/>
                  </a:lnTo>
                  <a:lnTo>
                    <a:pt x="206" y="88"/>
                  </a:lnTo>
                  <a:cubicBezTo>
                    <a:pt x="210" y="86"/>
                    <a:pt x="214" y="84"/>
                    <a:pt x="219" y="83"/>
                  </a:cubicBezTo>
                  <a:lnTo>
                    <a:pt x="217" y="21"/>
                  </a:lnTo>
                  <a:cubicBezTo>
                    <a:pt x="217" y="17"/>
                    <a:pt x="222" y="17"/>
                    <a:pt x="222" y="21"/>
                  </a:cubicBezTo>
                  <a:lnTo>
                    <a:pt x="224" y="81"/>
                  </a:lnTo>
                  <a:cubicBezTo>
                    <a:pt x="229" y="79"/>
                    <a:pt x="233" y="78"/>
                    <a:pt x="237" y="77"/>
                  </a:cubicBezTo>
                  <a:lnTo>
                    <a:pt x="243" y="0"/>
                  </a:lnTo>
                  <a:cubicBezTo>
                    <a:pt x="227" y="3"/>
                    <a:pt x="211" y="8"/>
                    <a:pt x="196" y="14"/>
                  </a:cubicBezTo>
                  <a:lnTo>
                    <a:pt x="196" y="14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E6F92EA8-C7F1-49CB-97C1-D51DFF48D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9175" y="537633"/>
              <a:ext cx="317500" cy="431800"/>
            </a:xfrm>
            <a:custGeom>
              <a:avLst/>
              <a:gdLst>
                <a:gd name="T0" fmla="*/ 134 w 292"/>
                <a:gd name="T1" fmla="*/ 82 h 393"/>
                <a:gd name="T2" fmla="*/ 164 w 292"/>
                <a:gd name="T3" fmla="*/ 19 h 393"/>
                <a:gd name="T4" fmla="*/ 187 w 292"/>
                <a:gd name="T5" fmla="*/ 0 h 393"/>
                <a:gd name="T6" fmla="*/ 193 w 292"/>
                <a:gd name="T7" fmla="*/ 0 h 393"/>
                <a:gd name="T8" fmla="*/ 188 w 292"/>
                <a:gd name="T9" fmla="*/ 77 h 393"/>
                <a:gd name="T10" fmla="*/ 194 w 292"/>
                <a:gd name="T11" fmla="*/ 78 h 393"/>
                <a:gd name="T12" fmla="*/ 193 w 292"/>
                <a:gd name="T13" fmla="*/ 0 h 393"/>
                <a:gd name="T14" fmla="*/ 246 w 292"/>
                <a:gd name="T15" fmla="*/ 5 h 393"/>
                <a:gd name="T16" fmla="*/ 258 w 292"/>
                <a:gd name="T17" fmla="*/ 22 h 393"/>
                <a:gd name="T18" fmla="*/ 248 w 292"/>
                <a:gd name="T19" fmla="*/ 90 h 393"/>
                <a:gd name="T20" fmla="*/ 246 w 292"/>
                <a:gd name="T21" fmla="*/ 5 h 393"/>
                <a:gd name="T22" fmla="*/ 144 w 292"/>
                <a:gd name="T23" fmla="*/ 176 h 393"/>
                <a:gd name="T24" fmla="*/ 128 w 292"/>
                <a:gd name="T25" fmla="*/ 177 h 393"/>
                <a:gd name="T26" fmla="*/ 149 w 292"/>
                <a:gd name="T27" fmla="*/ 197 h 393"/>
                <a:gd name="T28" fmla="*/ 167 w 292"/>
                <a:gd name="T29" fmla="*/ 103 h 393"/>
                <a:gd name="T30" fmla="*/ 141 w 292"/>
                <a:gd name="T31" fmla="*/ 137 h 393"/>
                <a:gd name="T32" fmla="*/ 135 w 292"/>
                <a:gd name="T33" fmla="*/ 138 h 393"/>
                <a:gd name="T34" fmla="*/ 133 w 292"/>
                <a:gd name="T35" fmla="*/ 154 h 393"/>
                <a:gd name="T36" fmla="*/ 142 w 292"/>
                <a:gd name="T37" fmla="*/ 152 h 393"/>
                <a:gd name="T38" fmla="*/ 144 w 292"/>
                <a:gd name="T39" fmla="*/ 174 h 393"/>
                <a:gd name="T40" fmla="*/ 123 w 292"/>
                <a:gd name="T41" fmla="*/ 123 h 393"/>
                <a:gd name="T42" fmla="*/ 126 w 292"/>
                <a:gd name="T43" fmla="*/ 124 h 393"/>
                <a:gd name="T44" fmla="*/ 111 w 292"/>
                <a:gd name="T45" fmla="*/ 115 h 393"/>
                <a:gd name="T46" fmla="*/ 138 w 292"/>
                <a:gd name="T47" fmla="*/ 172 h 393"/>
                <a:gd name="T48" fmla="*/ 113 w 292"/>
                <a:gd name="T49" fmla="*/ 140 h 393"/>
                <a:gd name="T50" fmla="*/ 123 w 292"/>
                <a:gd name="T51" fmla="*/ 123 h 393"/>
                <a:gd name="T52" fmla="*/ 105 w 292"/>
                <a:gd name="T53" fmla="*/ 164 h 393"/>
                <a:gd name="T54" fmla="*/ 54 w 292"/>
                <a:gd name="T55" fmla="*/ 162 h 393"/>
                <a:gd name="T56" fmla="*/ 59 w 292"/>
                <a:gd name="T57" fmla="*/ 164 h 393"/>
                <a:gd name="T58" fmla="*/ 121 w 292"/>
                <a:gd name="T59" fmla="*/ 175 h 393"/>
                <a:gd name="T60" fmla="*/ 101 w 292"/>
                <a:gd name="T61" fmla="*/ 119 h 393"/>
                <a:gd name="T62" fmla="*/ 101 w 292"/>
                <a:gd name="T63" fmla="*/ 159 h 393"/>
                <a:gd name="T64" fmla="*/ 56 w 292"/>
                <a:gd name="T65" fmla="*/ 168 h 393"/>
                <a:gd name="T66" fmla="*/ 128 w 292"/>
                <a:gd name="T67" fmla="*/ 196 h 393"/>
                <a:gd name="T68" fmla="*/ 56 w 292"/>
                <a:gd name="T69" fmla="*/ 169 h 393"/>
                <a:gd name="T70" fmla="*/ 55 w 292"/>
                <a:gd name="T71" fmla="*/ 250 h 393"/>
                <a:gd name="T72" fmla="*/ 25 w 292"/>
                <a:gd name="T73" fmla="*/ 276 h 393"/>
                <a:gd name="T74" fmla="*/ 19 w 292"/>
                <a:gd name="T75" fmla="*/ 285 h 393"/>
                <a:gd name="T76" fmla="*/ 21 w 292"/>
                <a:gd name="T77" fmla="*/ 340 h 393"/>
                <a:gd name="T78" fmla="*/ 69 w 292"/>
                <a:gd name="T79" fmla="*/ 310 h 393"/>
                <a:gd name="T80" fmla="*/ 75 w 292"/>
                <a:gd name="T81" fmla="*/ 336 h 393"/>
                <a:gd name="T82" fmla="*/ 37 w 292"/>
                <a:gd name="T83" fmla="*/ 256 h 393"/>
                <a:gd name="T84" fmla="*/ 13 w 292"/>
                <a:gd name="T85" fmla="*/ 247 h 393"/>
                <a:gd name="T86" fmla="*/ 37 w 292"/>
                <a:gd name="T87" fmla="*/ 256 h 393"/>
                <a:gd name="T88" fmla="*/ 17 w 292"/>
                <a:gd name="T89" fmla="*/ 369 h 393"/>
                <a:gd name="T90" fmla="*/ 17 w 292"/>
                <a:gd name="T91" fmla="*/ 369 h 393"/>
                <a:gd name="T92" fmla="*/ 14 w 292"/>
                <a:gd name="T93" fmla="*/ 265 h 393"/>
                <a:gd name="T94" fmla="*/ 15 w 292"/>
                <a:gd name="T95" fmla="*/ 281 h 393"/>
                <a:gd name="T96" fmla="*/ 14 w 292"/>
                <a:gd name="T97" fmla="*/ 265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2" h="393">
                  <a:moveTo>
                    <a:pt x="139" y="5"/>
                  </a:moveTo>
                  <a:lnTo>
                    <a:pt x="139" y="5"/>
                  </a:lnTo>
                  <a:lnTo>
                    <a:pt x="134" y="82"/>
                  </a:lnTo>
                  <a:cubicBezTo>
                    <a:pt x="139" y="81"/>
                    <a:pt x="144" y="80"/>
                    <a:pt x="149" y="79"/>
                  </a:cubicBezTo>
                  <a:lnTo>
                    <a:pt x="159" y="18"/>
                  </a:lnTo>
                  <a:cubicBezTo>
                    <a:pt x="159" y="15"/>
                    <a:pt x="165" y="16"/>
                    <a:pt x="164" y="19"/>
                  </a:cubicBezTo>
                  <a:lnTo>
                    <a:pt x="155" y="78"/>
                  </a:lnTo>
                  <a:cubicBezTo>
                    <a:pt x="159" y="78"/>
                    <a:pt x="163" y="78"/>
                    <a:pt x="167" y="77"/>
                  </a:cubicBezTo>
                  <a:lnTo>
                    <a:pt x="187" y="0"/>
                  </a:lnTo>
                  <a:cubicBezTo>
                    <a:pt x="171" y="1"/>
                    <a:pt x="155" y="2"/>
                    <a:pt x="139" y="5"/>
                  </a:cubicBezTo>
                  <a:lnTo>
                    <a:pt x="139" y="5"/>
                  </a:lnTo>
                  <a:close/>
                  <a:moveTo>
                    <a:pt x="193" y="0"/>
                  </a:moveTo>
                  <a:lnTo>
                    <a:pt x="193" y="0"/>
                  </a:lnTo>
                  <a:lnTo>
                    <a:pt x="173" y="77"/>
                  </a:lnTo>
                  <a:cubicBezTo>
                    <a:pt x="178" y="77"/>
                    <a:pt x="183" y="77"/>
                    <a:pt x="188" y="77"/>
                  </a:cubicBezTo>
                  <a:lnTo>
                    <a:pt x="207" y="17"/>
                  </a:lnTo>
                  <a:cubicBezTo>
                    <a:pt x="208" y="13"/>
                    <a:pt x="214" y="15"/>
                    <a:pt x="213" y="18"/>
                  </a:cubicBezTo>
                  <a:lnTo>
                    <a:pt x="194" y="78"/>
                  </a:lnTo>
                  <a:cubicBezTo>
                    <a:pt x="199" y="78"/>
                    <a:pt x="203" y="79"/>
                    <a:pt x="208" y="80"/>
                  </a:cubicBezTo>
                  <a:lnTo>
                    <a:pt x="240" y="4"/>
                  </a:lnTo>
                  <a:cubicBezTo>
                    <a:pt x="224" y="2"/>
                    <a:pt x="208" y="0"/>
                    <a:pt x="193" y="0"/>
                  </a:cubicBezTo>
                  <a:lnTo>
                    <a:pt x="193" y="0"/>
                  </a:lnTo>
                  <a:close/>
                  <a:moveTo>
                    <a:pt x="246" y="5"/>
                  </a:moveTo>
                  <a:lnTo>
                    <a:pt x="246" y="5"/>
                  </a:lnTo>
                  <a:lnTo>
                    <a:pt x="214" y="81"/>
                  </a:lnTo>
                  <a:cubicBezTo>
                    <a:pt x="218" y="81"/>
                    <a:pt x="222" y="82"/>
                    <a:pt x="226" y="83"/>
                  </a:cubicBezTo>
                  <a:lnTo>
                    <a:pt x="258" y="22"/>
                  </a:lnTo>
                  <a:cubicBezTo>
                    <a:pt x="260" y="19"/>
                    <a:pt x="265" y="21"/>
                    <a:pt x="263" y="25"/>
                  </a:cubicBezTo>
                  <a:lnTo>
                    <a:pt x="232" y="85"/>
                  </a:lnTo>
                  <a:cubicBezTo>
                    <a:pt x="237" y="86"/>
                    <a:pt x="243" y="88"/>
                    <a:pt x="248" y="90"/>
                  </a:cubicBezTo>
                  <a:lnTo>
                    <a:pt x="292" y="17"/>
                  </a:lnTo>
                  <a:cubicBezTo>
                    <a:pt x="277" y="12"/>
                    <a:pt x="261" y="8"/>
                    <a:pt x="246" y="5"/>
                  </a:cubicBezTo>
                  <a:lnTo>
                    <a:pt x="246" y="5"/>
                  </a:lnTo>
                  <a:close/>
                  <a:moveTo>
                    <a:pt x="144" y="174"/>
                  </a:moveTo>
                  <a:lnTo>
                    <a:pt x="144" y="174"/>
                  </a:lnTo>
                  <a:cubicBezTo>
                    <a:pt x="144" y="175"/>
                    <a:pt x="144" y="175"/>
                    <a:pt x="144" y="176"/>
                  </a:cubicBezTo>
                  <a:cubicBezTo>
                    <a:pt x="143" y="176"/>
                    <a:pt x="143" y="176"/>
                    <a:pt x="142" y="177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37" y="178"/>
                    <a:pt x="132" y="177"/>
                    <a:pt x="128" y="177"/>
                  </a:cubicBezTo>
                  <a:cubicBezTo>
                    <a:pt x="127" y="177"/>
                    <a:pt x="127" y="177"/>
                    <a:pt x="126" y="178"/>
                  </a:cubicBezTo>
                  <a:cubicBezTo>
                    <a:pt x="127" y="183"/>
                    <a:pt x="130" y="190"/>
                    <a:pt x="136" y="196"/>
                  </a:cubicBezTo>
                  <a:cubicBezTo>
                    <a:pt x="140" y="196"/>
                    <a:pt x="144" y="196"/>
                    <a:pt x="149" y="197"/>
                  </a:cubicBezTo>
                  <a:lnTo>
                    <a:pt x="161" y="145"/>
                  </a:lnTo>
                  <a:cubicBezTo>
                    <a:pt x="147" y="141"/>
                    <a:pt x="144" y="117"/>
                    <a:pt x="162" y="113"/>
                  </a:cubicBezTo>
                  <a:cubicBezTo>
                    <a:pt x="162" y="109"/>
                    <a:pt x="164" y="106"/>
                    <a:pt x="167" y="103"/>
                  </a:cubicBezTo>
                  <a:cubicBezTo>
                    <a:pt x="157" y="104"/>
                    <a:pt x="147" y="105"/>
                    <a:pt x="138" y="107"/>
                  </a:cubicBezTo>
                  <a:lnTo>
                    <a:pt x="141" y="136"/>
                  </a:lnTo>
                  <a:cubicBezTo>
                    <a:pt x="141" y="136"/>
                    <a:pt x="141" y="136"/>
                    <a:pt x="141" y="137"/>
                  </a:cubicBezTo>
                  <a:lnTo>
                    <a:pt x="141" y="140"/>
                  </a:lnTo>
                  <a:cubicBezTo>
                    <a:pt x="141" y="143"/>
                    <a:pt x="136" y="144"/>
                    <a:pt x="135" y="140"/>
                  </a:cubicBezTo>
                  <a:lnTo>
                    <a:pt x="135" y="138"/>
                  </a:lnTo>
                  <a:lnTo>
                    <a:pt x="124" y="130"/>
                  </a:lnTo>
                  <a:cubicBezTo>
                    <a:pt x="121" y="132"/>
                    <a:pt x="119" y="136"/>
                    <a:pt x="119" y="140"/>
                  </a:cubicBezTo>
                  <a:cubicBezTo>
                    <a:pt x="119" y="148"/>
                    <a:pt x="125" y="154"/>
                    <a:pt x="133" y="154"/>
                  </a:cubicBezTo>
                  <a:cubicBezTo>
                    <a:pt x="134" y="154"/>
                    <a:pt x="135" y="154"/>
                    <a:pt x="137" y="154"/>
                  </a:cubicBezTo>
                  <a:lnTo>
                    <a:pt x="137" y="153"/>
                  </a:lnTo>
                  <a:cubicBezTo>
                    <a:pt x="136" y="149"/>
                    <a:pt x="142" y="148"/>
                    <a:pt x="142" y="152"/>
                  </a:cubicBezTo>
                  <a:lnTo>
                    <a:pt x="142" y="155"/>
                  </a:lnTo>
                  <a:cubicBezTo>
                    <a:pt x="143" y="155"/>
                    <a:pt x="143" y="155"/>
                    <a:pt x="143" y="156"/>
                  </a:cubicBezTo>
                  <a:lnTo>
                    <a:pt x="144" y="174"/>
                  </a:lnTo>
                  <a:cubicBezTo>
                    <a:pt x="144" y="174"/>
                    <a:pt x="144" y="174"/>
                    <a:pt x="144" y="174"/>
                  </a:cubicBezTo>
                  <a:lnTo>
                    <a:pt x="144" y="174"/>
                  </a:lnTo>
                  <a:close/>
                  <a:moveTo>
                    <a:pt x="123" y="123"/>
                  </a:moveTo>
                  <a:lnTo>
                    <a:pt x="123" y="123"/>
                  </a:lnTo>
                  <a:lnTo>
                    <a:pt x="125" y="124"/>
                  </a:lnTo>
                  <a:cubicBezTo>
                    <a:pt x="125" y="124"/>
                    <a:pt x="125" y="124"/>
                    <a:pt x="126" y="124"/>
                  </a:cubicBezTo>
                  <a:lnTo>
                    <a:pt x="135" y="131"/>
                  </a:lnTo>
                  <a:lnTo>
                    <a:pt x="133" y="108"/>
                  </a:lnTo>
                  <a:cubicBezTo>
                    <a:pt x="125" y="110"/>
                    <a:pt x="118" y="112"/>
                    <a:pt x="111" y="115"/>
                  </a:cubicBezTo>
                  <a:cubicBezTo>
                    <a:pt x="97" y="130"/>
                    <a:pt x="98" y="147"/>
                    <a:pt x="107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15" y="168"/>
                    <a:pt x="127" y="173"/>
                    <a:pt x="138" y="172"/>
                  </a:cubicBezTo>
                  <a:lnTo>
                    <a:pt x="137" y="159"/>
                  </a:lnTo>
                  <a:cubicBezTo>
                    <a:pt x="136" y="160"/>
                    <a:pt x="134" y="160"/>
                    <a:pt x="133" y="160"/>
                  </a:cubicBezTo>
                  <a:cubicBezTo>
                    <a:pt x="122" y="160"/>
                    <a:pt x="113" y="151"/>
                    <a:pt x="113" y="140"/>
                  </a:cubicBezTo>
                  <a:cubicBezTo>
                    <a:pt x="113" y="135"/>
                    <a:pt x="116" y="130"/>
                    <a:pt x="119" y="126"/>
                  </a:cubicBezTo>
                  <a:cubicBezTo>
                    <a:pt x="118" y="124"/>
                    <a:pt x="121" y="121"/>
                    <a:pt x="123" y="123"/>
                  </a:cubicBezTo>
                  <a:lnTo>
                    <a:pt x="123" y="123"/>
                  </a:lnTo>
                  <a:close/>
                  <a:moveTo>
                    <a:pt x="121" y="175"/>
                  </a:moveTo>
                  <a:lnTo>
                    <a:pt x="121" y="175"/>
                  </a:lnTo>
                  <a:cubicBezTo>
                    <a:pt x="115" y="172"/>
                    <a:pt x="109" y="169"/>
                    <a:pt x="105" y="164"/>
                  </a:cubicBezTo>
                  <a:cubicBezTo>
                    <a:pt x="85" y="169"/>
                    <a:pt x="68" y="154"/>
                    <a:pt x="62" y="142"/>
                  </a:cubicBezTo>
                  <a:cubicBezTo>
                    <a:pt x="55" y="147"/>
                    <a:pt x="48" y="153"/>
                    <a:pt x="42" y="159"/>
                  </a:cubicBezTo>
                  <a:lnTo>
                    <a:pt x="54" y="162"/>
                  </a:lnTo>
                  <a:cubicBezTo>
                    <a:pt x="55" y="162"/>
                    <a:pt x="55" y="162"/>
                    <a:pt x="55" y="162"/>
                  </a:cubicBezTo>
                  <a:lnTo>
                    <a:pt x="58" y="163"/>
                  </a:lnTo>
                  <a:cubicBezTo>
                    <a:pt x="58" y="163"/>
                    <a:pt x="59" y="163"/>
                    <a:pt x="59" y="164"/>
                  </a:cubicBezTo>
                  <a:cubicBezTo>
                    <a:pt x="60" y="164"/>
                    <a:pt x="60" y="164"/>
                    <a:pt x="60" y="165"/>
                  </a:cubicBezTo>
                  <a:cubicBezTo>
                    <a:pt x="74" y="181"/>
                    <a:pt x="108" y="181"/>
                    <a:pt x="121" y="175"/>
                  </a:cubicBezTo>
                  <a:lnTo>
                    <a:pt x="121" y="175"/>
                  </a:lnTo>
                  <a:close/>
                  <a:moveTo>
                    <a:pt x="101" y="159"/>
                  </a:moveTo>
                  <a:lnTo>
                    <a:pt x="101" y="159"/>
                  </a:lnTo>
                  <a:cubicBezTo>
                    <a:pt x="93" y="148"/>
                    <a:pt x="92" y="134"/>
                    <a:pt x="101" y="119"/>
                  </a:cubicBezTo>
                  <a:cubicBezTo>
                    <a:pt x="89" y="124"/>
                    <a:pt x="77" y="131"/>
                    <a:pt x="66" y="139"/>
                  </a:cubicBezTo>
                  <a:cubicBezTo>
                    <a:pt x="71" y="149"/>
                    <a:pt x="85" y="161"/>
                    <a:pt x="101" y="159"/>
                  </a:cubicBezTo>
                  <a:lnTo>
                    <a:pt x="101" y="159"/>
                  </a:lnTo>
                  <a:close/>
                  <a:moveTo>
                    <a:pt x="56" y="169"/>
                  </a:moveTo>
                  <a:lnTo>
                    <a:pt x="56" y="169"/>
                  </a:lnTo>
                  <a:lnTo>
                    <a:pt x="56" y="168"/>
                  </a:lnTo>
                  <a:cubicBezTo>
                    <a:pt x="54" y="174"/>
                    <a:pt x="54" y="186"/>
                    <a:pt x="55" y="192"/>
                  </a:cubicBezTo>
                  <a:cubicBezTo>
                    <a:pt x="66" y="196"/>
                    <a:pt x="79" y="196"/>
                    <a:pt x="94" y="196"/>
                  </a:cubicBezTo>
                  <a:cubicBezTo>
                    <a:pt x="106" y="196"/>
                    <a:pt x="117" y="196"/>
                    <a:pt x="128" y="196"/>
                  </a:cubicBezTo>
                  <a:cubicBezTo>
                    <a:pt x="124" y="191"/>
                    <a:pt x="122" y="185"/>
                    <a:pt x="121" y="181"/>
                  </a:cubicBezTo>
                  <a:cubicBezTo>
                    <a:pt x="104" y="187"/>
                    <a:pt x="71" y="185"/>
                    <a:pt x="56" y="169"/>
                  </a:cubicBezTo>
                  <a:lnTo>
                    <a:pt x="56" y="169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cubicBezTo>
                    <a:pt x="62" y="254"/>
                    <a:pt x="59" y="252"/>
                    <a:pt x="55" y="250"/>
                  </a:cubicBezTo>
                  <a:cubicBezTo>
                    <a:pt x="51" y="253"/>
                    <a:pt x="47" y="255"/>
                    <a:pt x="44" y="258"/>
                  </a:cubicBezTo>
                  <a:cubicBezTo>
                    <a:pt x="44" y="258"/>
                    <a:pt x="43" y="259"/>
                    <a:pt x="43" y="259"/>
                  </a:cubicBezTo>
                  <a:cubicBezTo>
                    <a:pt x="36" y="265"/>
                    <a:pt x="30" y="271"/>
                    <a:pt x="25" y="276"/>
                  </a:cubicBezTo>
                  <a:cubicBezTo>
                    <a:pt x="25" y="276"/>
                    <a:pt x="25" y="277"/>
                    <a:pt x="25" y="277"/>
                  </a:cubicBezTo>
                  <a:cubicBezTo>
                    <a:pt x="23" y="279"/>
                    <a:pt x="21" y="282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12" y="295"/>
                    <a:pt x="9" y="304"/>
                    <a:pt x="8" y="312"/>
                  </a:cubicBezTo>
                  <a:cubicBezTo>
                    <a:pt x="6" y="324"/>
                    <a:pt x="7" y="340"/>
                    <a:pt x="0" y="350"/>
                  </a:cubicBezTo>
                  <a:cubicBezTo>
                    <a:pt x="11" y="349"/>
                    <a:pt x="14" y="346"/>
                    <a:pt x="21" y="340"/>
                  </a:cubicBezTo>
                  <a:cubicBezTo>
                    <a:pt x="14" y="310"/>
                    <a:pt x="36" y="271"/>
                    <a:pt x="66" y="255"/>
                  </a:cubicBezTo>
                  <a:lnTo>
                    <a:pt x="66" y="255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cubicBezTo>
                    <a:pt x="68" y="311"/>
                    <a:pt x="68" y="312"/>
                    <a:pt x="67" y="314"/>
                  </a:cubicBezTo>
                  <a:cubicBezTo>
                    <a:pt x="61" y="326"/>
                    <a:pt x="68" y="336"/>
                    <a:pt x="75" y="336"/>
                  </a:cubicBezTo>
                  <a:cubicBezTo>
                    <a:pt x="93" y="336"/>
                    <a:pt x="92" y="311"/>
                    <a:pt x="69" y="310"/>
                  </a:cubicBezTo>
                  <a:lnTo>
                    <a:pt x="69" y="310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cubicBezTo>
                    <a:pt x="28" y="249"/>
                    <a:pt x="17" y="240"/>
                    <a:pt x="12" y="229"/>
                  </a:cubicBezTo>
                  <a:cubicBezTo>
                    <a:pt x="11" y="235"/>
                    <a:pt x="11" y="241"/>
                    <a:pt x="13" y="247"/>
                  </a:cubicBezTo>
                  <a:lnTo>
                    <a:pt x="13" y="247"/>
                  </a:lnTo>
                  <a:cubicBezTo>
                    <a:pt x="15" y="256"/>
                    <a:pt x="19" y="264"/>
                    <a:pt x="23" y="270"/>
                  </a:cubicBezTo>
                  <a:cubicBezTo>
                    <a:pt x="27" y="266"/>
                    <a:pt x="32" y="261"/>
                    <a:pt x="37" y="256"/>
                  </a:cubicBezTo>
                  <a:lnTo>
                    <a:pt x="37" y="256"/>
                  </a:lnTo>
                  <a:close/>
                  <a:moveTo>
                    <a:pt x="17" y="369"/>
                  </a:moveTo>
                  <a:lnTo>
                    <a:pt x="17" y="369"/>
                  </a:lnTo>
                  <a:cubicBezTo>
                    <a:pt x="17" y="377"/>
                    <a:pt x="18" y="385"/>
                    <a:pt x="17" y="393"/>
                  </a:cubicBezTo>
                  <a:cubicBezTo>
                    <a:pt x="26" y="392"/>
                    <a:pt x="29" y="390"/>
                    <a:pt x="34" y="385"/>
                  </a:cubicBezTo>
                  <a:cubicBezTo>
                    <a:pt x="28" y="381"/>
                    <a:pt x="22" y="376"/>
                    <a:pt x="17" y="369"/>
                  </a:cubicBezTo>
                  <a:lnTo>
                    <a:pt x="17" y="369"/>
                  </a:lnTo>
                  <a:close/>
                  <a:moveTo>
                    <a:pt x="14" y="265"/>
                  </a:moveTo>
                  <a:lnTo>
                    <a:pt x="14" y="265"/>
                  </a:lnTo>
                  <a:lnTo>
                    <a:pt x="3" y="271"/>
                  </a:lnTo>
                  <a:lnTo>
                    <a:pt x="9" y="283"/>
                  </a:lnTo>
                  <a:cubicBezTo>
                    <a:pt x="11" y="282"/>
                    <a:pt x="13" y="281"/>
                    <a:pt x="15" y="281"/>
                  </a:cubicBezTo>
                  <a:cubicBezTo>
                    <a:pt x="16" y="279"/>
                    <a:pt x="18" y="277"/>
                    <a:pt x="20" y="275"/>
                  </a:cubicBezTo>
                  <a:cubicBezTo>
                    <a:pt x="18" y="272"/>
                    <a:pt x="16" y="268"/>
                    <a:pt x="14" y="265"/>
                  </a:cubicBezTo>
                  <a:lnTo>
                    <a:pt x="14" y="265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703A366F-8CE4-4123-88FF-0D414C1F10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20125" y="639233"/>
              <a:ext cx="374651" cy="406400"/>
            </a:xfrm>
            <a:custGeom>
              <a:avLst/>
              <a:gdLst>
                <a:gd name="T0" fmla="*/ 1 w 346"/>
                <a:gd name="T1" fmla="*/ 230 h 372"/>
                <a:gd name="T2" fmla="*/ 27 w 346"/>
                <a:gd name="T3" fmla="*/ 197 h 372"/>
                <a:gd name="T4" fmla="*/ 1 w 346"/>
                <a:gd name="T5" fmla="*/ 223 h 372"/>
                <a:gd name="T6" fmla="*/ 1 w 346"/>
                <a:gd name="T7" fmla="*/ 214 h 372"/>
                <a:gd name="T8" fmla="*/ 2 w 346"/>
                <a:gd name="T9" fmla="*/ 188 h 372"/>
                <a:gd name="T10" fmla="*/ 3 w 346"/>
                <a:gd name="T11" fmla="*/ 179 h 372"/>
                <a:gd name="T12" fmla="*/ 29 w 346"/>
                <a:gd name="T13" fmla="*/ 168 h 372"/>
                <a:gd name="T14" fmla="*/ 5 w 346"/>
                <a:gd name="T15" fmla="*/ 169 h 372"/>
                <a:gd name="T16" fmla="*/ 7 w 346"/>
                <a:gd name="T17" fmla="*/ 161 h 372"/>
                <a:gd name="T18" fmla="*/ 32 w 346"/>
                <a:gd name="T19" fmla="*/ 127 h 372"/>
                <a:gd name="T20" fmla="*/ 36 w 346"/>
                <a:gd name="T21" fmla="*/ 96 h 372"/>
                <a:gd name="T22" fmla="*/ 56 w 346"/>
                <a:gd name="T23" fmla="*/ 72 h 372"/>
                <a:gd name="T24" fmla="*/ 68 w 346"/>
                <a:gd name="T25" fmla="*/ 75 h 372"/>
                <a:gd name="T26" fmla="*/ 214 w 346"/>
                <a:gd name="T27" fmla="*/ 53 h 372"/>
                <a:gd name="T28" fmla="*/ 203 w 346"/>
                <a:gd name="T29" fmla="*/ 80 h 372"/>
                <a:gd name="T30" fmla="*/ 214 w 346"/>
                <a:gd name="T31" fmla="*/ 53 h 372"/>
                <a:gd name="T32" fmla="*/ 187 w 346"/>
                <a:gd name="T33" fmla="*/ 64 h 372"/>
                <a:gd name="T34" fmla="*/ 199 w 346"/>
                <a:gd name="T35" fmla="*/ 53 h 372"/>
                <a:gd name="T36" fmla="*/ 205 w 346"/>
                <a:gd name="T37" fmla="*/ 50 h 372"/>
                <a:gd name="T38" fmla="*/ 210 w 346"/>
                <a:gd name="T39" fmla="*/ 23 h 372"/>
                <a:gd name="T40" fmla="*/ 182 w 346"/>
                <a:gd name="T41" fmla="*/ 27 h 372"/>
                <a:gd name="T42" fmla="*/ 186 w 346"/>
                <a:gd name="T43" fmla="*/ 49 h 372"/>
                <a:gd name="T44" fmla="*/ 172 w 346"/>
                <a:gd name="T45" fmla="*/ 105 h 372"/>
                <a:gd name="T46" fmla="*/ 197 w 346"/>
                <a:gd name="T47" fmla="*/ 70 h 372"/>
                <a:gd name="T48" fmla="*/ 225 w 346"/>
                <a:gd name="T49" fmla="*/ 90 h 372"/>
                <a:gd name="T50" fmla="*/ 232 w 346"/>
                <a:gd name="T51" fmla="*/ 80 h 372"/>
                <a:gd name="T52" fmla="*/ 242 w 346"/>
                <a:gd name="T53" fmla="*/ 51 h 372"/>
                <a:gd name="T54" fmla="*/ 222 w 346"/>
                <a:gd name="T55" fmla="*/ 60 h 372"/>
                <a:gd name="T56" fmla="*/ 203 w 346"/>
                <a:gd name="T57" fmla="*/ 88 h 372"/>
                <a:gd name="T58" fmla="*/ 225 w 346"/>
                <a:gd name="T59" fmla="*/ 90 h 372"/>
                <a:gd name="T60" fmla="*/ 200 w 346"/>
                <a:gd name="T61" fmla="*/ 247 h 372"/>
                <a:gd name="T62" fmla="*/ 200 w 346"/>
                <a:gd name="T63" fmla="*/ 247 h 372"/>
                <a:gd name="T64" fmla="*/ 262 w 346"/>
                <a:gd name="T65" fmla="*/ 176 h 372"/>
                <a:gd name="T66" fmla="*/ 262 w 346"/>
                <a:gd name="T67" fmla="*/ 176 h 372"/>
                <a:gd name="T68" fmla="*/ 303 w 346"/>
                <a:gd name="T69" fmla="*/ 125 h 372"/>
                <a:gd name="T70" fmla="*/ 303 w 346"/>
                <a:gd name="T71" fmla="*/ 125 h 372"/>
                <a:gd name="T72" fmla="*/ 302 w 346"/>
                <a:gd name="T73" fmla="*/ 148 h 372"/>
                <a:gd name="T74" fmla="*/ 303 w 346"/>
                <a:gd name="T75" fmla="*/ 132 h 372"/>
                <a:gd name="T76" fmla="*/ 189 w 346"/>
                <a:gd name="T77" fmla="*/ 269 h 372"/>
                <a:gd name="T78" fmla="*/ 257 w 346"/>
                <a:gd name="T79" fmla="*/ 205 h 372"/>
                <a:gd name="T80" fmla="*/ 257 w 346"/>
                <a:gd name="T81" fmla="*/ 181 h 372"/>
                <a:gd name="T82" fmla="*/ 194 w 346"/>
                <a:gd name="T83" fmla="*/ 255 h 372"/>
                <a:gd name="T84" fmla="*/ 189 w 346"/>
                <a:gd name="T85" fmla="*/ 269 h 372"/>
                <a:gd name="T86" fmla="*/ 68 w 346"/>
                <a:gd name="T87" fmla="*/ 369 h 372"/>
                <a:gd name="T88" fmla="*/ 101 w 346"/>
                <a:gd name="T89" fmla="*/ 350 h 372"/>
                <a:gd name="T90" fmla="*/ 129 w 346"/>
                <a:gd name="T91" fmla="*/ 325 h 372"/>
                <a:gd name="T92" fmla="*/ 148 w 346"/>
                <a:gd name="T93" fmla="*/ 305 h 372"/>
                <a:gd name="T94" fmla="*/ 176 w 346"/>
                <a:gd name="T95" fmla="*/ 271 h 372"/>
                <a:gd name="T96" fmla="*/ 191 w 346"/>
                <a:gd name="T97" fmla="*/ 250 h 372"/>
                <a:gd name="T98" fmla="*/ 253 w 346"/>
                <a:gd name="T99" fmla="*/ 160 h 372"/>
                <a:gd name="T100" fmla="*/ 279 w 346"/>
                <a:gd name="T101" fmla="*/ 125 h 372"/>
                <a:gd name="T102" fmla="*/ 295 w 346"/>
                <a:gd name="T103" fmla="*/ 106 h 372"/>
                <a:gd name="T104" fmla="*/ 341 w 346"/>
                <a:gd name="T105" fmla="*/ 64 h 372"/>
                <a:gd name="T106" fmla="*/ 343 w 346"/>
                <a:gd name="T107" fmla="*/ 63 h 372"/>
                <a:gd name="T108" fmla="*/ 331 w 346"/>
                <a:gd name="T109" fmla="*/ 52 h 372"/>
                <a:gd name="T110" fmla="*/ 68 w 346"/>
                <a:gd name="T111" fmla="*/ 369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72">
                  <a:moveTo>
                    <a:pt x="1" y="223"/>
                  </a:moveTo>
                  <a:lnTo>
                    <a:pt x="1" y="223"/>
                  </a:lnTo>
                  <a:cubicBezTo>
                    <a:pt x="1" y="225"/>
                    <a:pt x="1" y="228"/>
                    <a:pt x="1" y="230"/>
                  </a:cubicBezTo>
                  <a:cubicBezTo>
                    <a:pt x="7" y="226"/>
                    <a:pt x="15" y="220"/>
                    <a:pt x="20" y="219"/>
                  </a:cubicBezTo>
                  <a:cubicBezTo>
                    <a:pt x="22" y="212"/>
                    <a:pt x="24" y="205"/>
                    <a:pt x="28" y="196"/>
                  </a:cubicBezTo>
                  <a:cubicBezTo>
                    <a:pt x="28" y="197"/>
                    <a:pt x="27" y="197"/>
                    <a:pt x="27" y="197"/>
                  </a:cubicBezTo>
                  <a:cubicBezTo>
                    <a:pt x="27" y="197"/>
                    <a:pt x="27" y="197"/>
                    <a:pt x="27" y="197"/>
                  </a:cubicBezTo>
                  <a:cubicBezTo>
                    <a:pt x="15" y="204"/>
                    <a:pt x="3" y="218"/>
                    <a:pt x="1" y="223"/>
                  </a:cubicBezTo>
                  <a:lnTo>
                    <a:pt x="1" y="223"/>
                  </a:lnTo>
                  <a:close/>
                  <a:moveTo>
                    <a:pt x="2" y="188"/>
                  </a:moveTo>
                  <a:lnTo>
                    <a:pt x="2" y="188"/>
                  </a:lnTo>
                  <a:cubicBezTo>
                    <a:pt x="1" y="196"/>
                    <a:pt x="0" y="205"/>
                    <a:pt x="1" y="214"/>
                  </a:cubicBezTo>
                  <a:cubicBezTo>
                    <a:pt x="3" y="210"/>
                    <a:pt x="7" y="206"/>
                    <a:pt x="11" y="202"/>
                  </a:cubicBezTo>
                  <a:lnTo>
                    <a:pt x="2" y="188"/>
                  </a:lnTo>
                  <a:lnTo>
                    <a:pt x="2" y="188"/>
                  </a:lnTo>
                  <a:close/>
                  <a:moveTo>
                    <a:pt x="5" y="169"/>
                  </a:moveTo>
                  <a:lnTo>
                    <a:pt x="5" y="169"/>
                  </a:lnTo>
                  <a:cubicBezTo>
                    <a:pt x="4" y="172"/>
                    <a:pt x="4" y="176"/>
                    <a:pt x="3" y="179"/>
                  </a:cubicBezTo>
                  <a:lnTo>
                    <a:pt x="15" y="198"/>
                  </a:lnTo>
                  <a:cubicBezTo>
                    <a:pt x="17" y="197"/>
                    <a:pt x="20" y="195"/>
                    <a:pt x="22" y="194"/>
                  </a:cubicBezTo>
                  <a:cubicBezTo>
                    <a:pt x="12" y="174"/>
                    <a:pt x="10" y="178"/>
                    <a:pt x="29" y="168"/>
                  </a:cubicBezTo>
                  <a:cubicBezTo>
                    <a:pt x="28" y="165"/>
                    <a:pt x="27" y="162"/>
                    <a:pt x="26" y="159"/>
                  </a:cubicBezTo>
                  <a:cubicBezTo>
                    <a:pt x="21" y="160"/>
                    <a:pt x="12" y="164"/>
                    <a:pt x="5" y="169"/>
                  </a:cubicBezTo>
                  <a:lnTo>
                    <a:pt x="5" y="169"/>
                  </a:lnTo>
                  <a:close/>
                  <a:moveTo>
                    <a:pt x="36" y="96"/>
                  </a:moveTo>
                  <a:lnTo>
                    <a:pt x="36" y="96"/>
                  </a:lnTo>
                  <a:cubicBezTo>
                    <a:pt x="23" y="116"/>
                    <a:pt x="13" y="138"/>
                    <a:pt x="7" y="161"/>
                  </a:cubicBezTo>
                  <a:cubicBezTo>
                    <a:pt x="13" y="157"/>
                    <a:pt x="20" y="155"/>
                    <a:pt x="24" y="153"/>
                  </a:cubicBezTo>
                  <a:cubicBezTo>
                    <a:pt x="23" y="145"/>
                    <a:pt x="23" y="136"/>
                    <a:pt x="27" y="126"/>
                  </a:cubicBezTo>
                  <a:cubicBezTo>
                    <a:pt x="28" y="123"/>
                    <a:pt x="32" y="123"/>
                    <a:pt x="32" y="127"/>
                  </a:cubicBezTo>
                  <a:cubicBezTo>
                    <a:pt x="34" y="141"/>
                    <a:pt x="49" y="152"/>
                    <a:pt x="60" y="161"/>
                  </a:cubicBezTo>
                  <a:cubicBezTo>
                    <a:pt x="62" y="159"/>
                    <a:pt x="65" y="156"/>
                    <a:pt x="68" y="154"/>
                  </a:cubicBezTo>
                  <a:cubicBezTo>
                    <a:pt x="52" y="142"/>
                    <a:pt x="40" y="125"/>
                    <a:pt x="36" y="96"/>
                  </a:cubicBezTo>
                  <a:lnTo>
                    <a:pt x="36" y="96"/>
                  </a:lnTo>
                  <a:close/>
                  <a:moveTo>
                    <a:pt x="56" y="72"/>
                  </a:moveTo>
                  <a:lnTo>
                    <a:pt x="56" y="72"/>
                  </a:lnTo>
                  <a:cubicBezTo>
                    <a:pt x="53" y="75"/>
                    <a:pt x="50" y="78"/>
                    <a:pt x="47" y="82"/>
                  </a:cubicBezTo>
                  <a:cubicBezTo>
                    <a:pt x="53" y="90"/>
                    <a:pt x="59" y="95"/>
                    <a:pt x="67" y="98"/>
                  </a:cubicBezTo>
                  <a:cubicBezTo>
                    <a:pt x="66" y="91"/>
                    <a:pt x="66" y="81"/>
                    <a:pt x="68" y="75"/>
                  </a:cubicBez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214" y="53"/>
                  </a:moveTo>
                  <a:lnTo>
                    <a:pt x="214" y="53"/>
                  </a:lnTo>
                  <a:cubicBezTo>
                    <a:pt x="211" y="55"/>
                    <a:pt x="208" y="56"/>
                    <a:pt x="204" y="56"/>
                  </a:cubicBezTo>
                  <a:cubicBezTo>
                    <a:pt x="203" y="64"/>
                    <a:pt x="202" y="72"/>
                    <a:pt x="203" y="80"/>
                  </a:cubicBezTo>
                  <a:lnTo>
                    <a:pt x="218" y="64"/>
                  </a:lnTo>
                  <a:cubicBezTo>
                    <a:pt x="215" y="60"/>
                    <a:pt x="214" y="57"/>
                    <a:pt x="214" y="53"/>
                  </a:cubicBezTo>
                  <a:lnTo>
                    <a:pt x="214" y="53"/>
                  </a:lnTo>
                  <a:close/>
                  <a:moveTo>
                    <a:pt x="197" y="70"/>
                  </a:moveTo>
                  <a:lnTo>
                    <a:pt x="197" y="70"/>
                  </a:lnTo>
                  <a:cubicBezTo>
                    <a:pt x="193" y="69"/>
                    <a:pt x="189" y="68"/>
                    <a:pt x="187" y="64"/>
                  </a:cubicBezTo>
                  <a:cubicBezTo>
                    <a:pt x="186" y="62"/>
                    <a:pt x="192" y="63"/>
                    <a:pt x="193" y="63"/>
                  </a:cubicBezTo>
                  <a:cubicBezTo>
                    <a:pt x="195" y="63"/>
                    <a:pt x="196" y="62"/>
                    <a:pt x="198" y="62"/>
                  </a:cubicBezTo>
                  <a:cubicBezTo>
                    <a:pt x="198" y="59"/>
                    <a:pt x="198" y="56"/>
                    <a:pt x="199" y="53"/>
                  </a:cubicBezTo>
                  <a:cubicBezTo>
                    <a:pt x="199" y="53"/>
                    <a:pt x="199" y="52"/>
                    <a:pt x="199" y="52"/>
                  </a:cubicBezTo>
                  <a:cubicBezTo>
                    <a:pt x="199" y="51"/>
                    <a:pt x="199" y="50"/>
                    <a:pt x="199" y="49"/>
                  </a:cubicBezTo>
                  <a:cubicBezTo>
                    <a:pt x="200" y="46"/>
                    <a:pt x="205" y="46"/>
                    <a:pt x="205" y="50"/>
                  </a:cubicBezTo>
                  <a:cubicBezTo>
                    <a:pt x="221" y="49"/>
                    <a:pt x="218" y="25"/>
                    <a:pt x="201" y="29"/>
                  </a:cubicBezTo>
                  <a:cubicBezTo>
                    <a:pt x="197" y="29"/>
                    <a:pt x="196" y="24"/>
                    <a:pt x="200" y="23"/>
                  </a:cubicBezTo>
                  <a:cubicBezTo>
                    <a:pt x="204" y="22"/>
                    <a:pt x="207" y="22"/>
                    <a:pt x="210" y="23"/>
                  </a:cubicBezTo>
                  <a:cubicBezTo>
                    <a:pt x="208" y="0"/>
                    <a:pt x="172" y="14"/>
                    <a:pt x="192" y="32"/>
                  </a:cubicBezTo>
                  <a:cubicBezTo>
                    <a:pt x="195" y="34"/>
                    <a:pt x="192" y="39"/>
                    <a:pt x="189" y="36"/>
                  </a:cubicBezTo>
                  <a:cubicBezTo>
                    <a:pt x="185" y="33"/>
                    <a:pt x="183" y="30"/>
                    <a:pt x="182" y="27"/>
                  </a:cubicBezTo>
                  <a:cubicBezTo>
                    <a:pt x="169" y="29"/>
                    <a:pt x="172" y="45"/>
                    <a:pt x="181" y="48"/>
                  </a:cubicBezTo>
                  <a:lnTo>
                    <a:pt x="181" y="47"/>
                  </a:lnTo>
                  <a:cubicBezTo>
                    <a:pt x="182" y="44"/>
                    <a:pt x="187" y="45"/>
                    <a:pt x="186" y="49"/>
                  </a:cubicBezTo>
                  <a:lnTo>
                    <a:pt x="185" y="51"/>
                  </a:lnTo>
                  <a:cubicBezTo>
                    <a:pt x="185" y="52"/>
                    <a:pt x="185" y="52"/>
                    <a:pt x="185" y="52"/>
                  </a:cubicBezTo>
                  <a:lnTo>
                    <a:pt x="172" y="105"/>
                  </a:lnTo>
                  <a:cubicBezTo>
                    <a:pt x="175" y="105"/>
                    <a:pt x="177" y="106"/>
                    <a:pt x="179" y="106"/>
                  </a:cubicBezTo>
                  <a:lnTo>
                    <a:pt x="199" y="85"/>
                  </a:lnTo>
                  <a:cubicBezTo>
                    <a:pt x="197" y="80"/>
                    <a:pt x="197" y="75"/>
                    <a:pt x="197" y="70"/>
                  </a:cubicBezTo>
                  <a:lnTo>
                    <a:pt x="197" y="70"/>
                  </a:lnTo>
                  <a:close/>
                  <a:moveTo>
                    <a:pt x="225" y="90"/>
                  </a:moveTo>
                  <a:lnTo>
                    <a:pt x="225" y="90"/>
                  </a:lnTo>
                  <a:cubicBezTo>
                    <a:pt x="222" y="85"/>
                    <a:pt x="221" y="79"/>
                    <a:pt x="222" y="74"/>
                  </a:cubicBezTo>
                  <a:cubicBezTo>
                    <a:pt x="222" y="71"/>
                    <a:pt x="225" y="76"/>
                    <a:pt x="225" y="76"/>
                  </a:cubicBezTo>
                  <a:cubicBezTo>
                    <a:pt x="227" y="78"/>
                    <a:pt x="229" y="79"/>
                    <a:pt x="232" y="80"/>
                  </a:cubicBezTo>
                  <a:cubicBezTo>
                    <a:pt x="236" y="73"/>
                    <a:pt x="241" y="66"/>
                    <a:pt x="246" y="60"/>
                  </a:cubicBezTo>
                  <a:cubicBezTo>
                    <a:pt x="252" y="52"/>
                    <a:pt x="257" y="45"/>
                    <a:pt x="263" y="38"/>
                  </a:cubicBezTo>
                  <a:cubicBezTo>
                    <a:pt x="253" y="26"/>
                    <a:pt x="237" y="33"/>
                    <a:pt x="242" y="51"/>
                  </a:cubicBezTo>
                  <a:cubicBezTo>
                    <a:pt x="243" y="55"/>
                    <a:pt x="237" y="56"/>
                    <a:pt x="236" y="52"/>
                  </a:cubicBezTo>
                  <a:cubicBezTo>
                    <a:pt x="235" y="48"/>
                    <a:pt x="235" y="45"/>
                    <a:pt x="235" y="42"/>
                  </a:cubicBezTo>
                  <a:cubicBezTo>
                    <a:pt x="223" y="38"/>
                    <a:pt x="214" y="49"/>
                    <a:pt x="222" y="60"/>
                  </a:cubicBezTo>
                  <a:cubicBezTo>
                    <a:pt x="225" y="57"/>
                    <a:pt x="228" y="61"/>
                    <a:pt x="226" y="64"/>
                  </a:cubicBezTo>
                  <a:lnTo>
                    <a:pt x="204" y="87"/>
                  </a:lnTo>
                  <a:cubicBezTo>
                    <a:pt x="204" y="88"/>
                    <a:pt x="204" y="88"/>
                    <a:pt x="203" y="88"/>
                  </a:cubicBezTo>
                  <a:lnTo>
                    <a:pt x="186" y="107"/>
                  </a:lnTo>
                  <a:cubicBezTo>
                    <a:pt x="193" y="109"/>
                    <a:pt x="201" y="110"/>
                    <a:pt x="209" y="113"/>
                  </a:cubicBezTo>
                  <a:cubicBezTo>
                    <a:pt x="214" y="105"/>
                    <a:pt x="220" y="97"/>
                    <a:pt x="225" y="90"/>
                  </a:cubicBezTo>
                  <a:lnTo>
                    <a:pt x="225" y="90"/>
                  </a:lnTo>
                  <a:close/>
                  <a:moveTo>
                    <a:pt x="200" y="247"/>
                  </a:moveTo>
                  <a:lnTo>
                    <a:pt x="200" y="247"/>
                  </a:lnTo>
                  <a:cubicBezTo>
                    <a:pt x="231" y="234"/>
                    <a:pt x="241" y="209"/>
                    <a:pt x="240" y="189"/>
                  </a:cubicBezTo>
                  <a:cubicBezTo>
                    <a:pt x="233" y="199"/>
                    <a:pt x="226" y="210"/>
                    <a:pt x="219" y="219"/>
                  </a:cubicBezTo>
                  <a:cubicBezTo>
                    <a:pt x="213" y="229"/>
                    <a:pt x="206" y="238"/>
                    <a:pt x="200" y="247"/>
                  </a:cubicBezTo>
                  <a:lnTo>
                    <a:pt x="200" y="247"/>
                  </a:lnTo>
                  <a:close/>
                  <a:moveTo>
                    <a:pt x="262" y="176"/>
                  </a:moveTo>
                  <a:lnTo>
                    <a:pt x="262" y="176"/>
                  </a:lnTo>
                  <a:cubicBezTo>
                    <a:pt x="275" y="162"/>
                    <a:pt x="280" y="148"/>
                    <a:pt x="280" y="134"/>
                  </a:cubicBezTo>
                  <a:cubicBezTo>
                    <a:pt x="272" y="143"/>
                    <a:pt x="265" y="152"/>
                    <a:pt x="259" y="162"/>
                  </a:cubicBezTo>
                  <a:cubicBezTo>
                    <a:pt x="260" y="166"/>
                    <a:pt x="261" y="171"/>
                    <a:pt x="262" y="176"/>
                  </a:cubicBezTo>
                  <a:lnTo>
                    <a:pt x="262" y="176"/>
                  </a:lnTo>
                  <a:close/>
                  <a:moveTo>
                    <a:pt x="303" y="125"/>
                  </a:moveTo>
                  <a:lnTo>
                    <a:pt x="303" y="125"/>
                  </a:lnTo>
                  <a:cubicBezTo>
                    <a:pt x="317" y="114"/>
                    <a:pt x="322" y="102"/>
                    <a:pt x="322" y="87"/>
                  </a:cubicBezTo>
                  <a:cubicBezTo>
                    <a:pt x="314" y="94"/>
                    <a:pt x="307" y="101"/>
                    <a:pt x="300" y="109"/>
                  </a:cubicBezTo>
                  <a:cubicBezTo>
                    <a:pt x="301" y="115"/>
                    <a:pt x="302" y="120"/>
                    <a:pt x="303" y="125"/>
                  </a:cubicBezTo>
                  <a:lnTo>
                    <a:pt x="303" y="125"/>
                  </a:lnTo>
                  <a:close/>
                  <a:moveTo>
                    <a:pt x="302" y="148"/>
                  </a:moveTo>
                  <a:lnTo>
                    <a:pt x="302" y="148"/>
                  </a:lnTo>
                  <a:cubicBezTo>
                    <a:pt x="331" y="135"/>
                    <a:pt x="344" y="104"/>
                    <a:pt x="341" y="71"/>
                  </a:cubicBezTo>
                  <a:cubicBezTo>
                    <a:pt x="336" y="75"/>
                    <a:pt x="332" y="78"/>
                    <a:pt x="327" y="82"/>
                  </a:cubicBezTo>
                  <a:cubicBezTo>
                    <a:pt x="329" y="102"/>
                    <a:pt x="322" y="118"/>
                    <a:pt x="303" y="132"/>
                  </a:cubicBezTo>
                  <a:cubicBezTo>
                    <a:pt x="303" y="138"/>
                    <a:pt x="303" y="143"/>
                    <a:pt x="302" y="148"/>
                  </a:cubicBezTo>
                  <a:lnTo>
                    <a:pt x="302" y="148"/>
                  </a:lnTo>
                  <a:close/>
                  <a:moveTo>
                    <a:pt x="189" y="269"/>
                  </a:moveTo>
                  <a:lnTo>
                    <a:pt x="189" y="269"/>
                  </a:lnTo>
                  <a:cubicBezTo>
                    <a:pt x="189" y="269"/>
                    <a:pt x="189" y="269"/>
                    <a:pt x="189" y="269"/>
                  </a:cubicBezTo>
                  <a:cubicBezTo>
                    <a:pt x="222" y="266"/>
                    <a:pt x="251" y="240"/>
                    <a:pt x="257" y="205"/>
                  </a:cubicBezTo>
                  <a:cubicBezTo>
                    <a:pt x="257" y="204"/>
                    <a:pt x="257" y="204"/>
                    <a:pt x="257" y="204"/>
                  </a:cubicBezTo>
                  <a:cubicBezTo>
                    <a:pt x="258" y="197"/>
                    <a:pt x="258" y="190"/>
                    <a:pt x="257" y="182"/>
                  </a:cubicBezTo>
                  <a:cubicBezTo>
                    <a:pt x="257" y="182"/>
                    <a:pt x="257" y="181"/>
                    <a:pt x="257" y="181"/>
                  </a:cubicBezTo>
                  <a:cubicBezTo>
                    <a:pt x="257" y="177"/>
                    <a:pt x="256" y="172"/>
                    <a:pt x="254" y="168"/>
                  </a:cubicBezTo>
                  <a:cubicBezTo>
                    <a:pt x="251" y="172"/>
                    <a:pt x="248" y="177"/>
                    <a:pt x="244" y="182"/>
                  </a:cubicBezTo>
                  <a:cubicBezTo>
                    <a:pt x="249" y="207"/>
                    <a:pt x="238" y="242"/>
                    <a:pt x="194" y="255"/>
                  </a:cubicBezTo>
                  <a:cubicBezTo>
                    <a:pt x="191" y="260"/>
                    <a:pt x="187" y="264"/>
                    <a:pt x="184" y="269"/>
                  </a:cubicBezTo>
                  <a:cubicBezTo>
                    <a:pt x="185" y="269"/>
                    <a:pt x="187" y="269"/>
                    <a:pt x="189" y="269"/>
                  </a:cubicBezTo>
                  <a:lnTo>
                    <a:pt x="189" y="269"/>
                  </a:lnTo>
                  <a:close/>
                  <a:moveTo>
                    <a:pt x="68" y="369"/>
                  </a:moveTo>
                  <a:lnTo>
                    <a:pt x="68" y="369"/>
                  </a:lnTo>
                  <a:cubicBezTo>
                    <a:pt x="68" y="369"/>
                    <a:pt x="68" y="369"/>
                    <a:pt x="68" y="369"/>
                  </a:cubicBezTo>
                  <a:cubicBezTo>
                    <a:pt x="68" y="370"/>
                    <a:pt x="69" y="371"/>
                    <a:pt x="70" y="372"/>
                  </a:cubicBezTo>
                  <a:cubicBezTo>
                    <a:pt x="81" y="366"/>
                    <a:pt x="91" y="358"/>
                    <a:pt x="101" y="350"/>
                  </a:cubicBezTo>
                  <a:cubicBezTo>
                    <a:pt x="101" y="350"/>
                    <a:pt x="101" y="350"/>
                    <a:pt x="101" y="350"/>
                  </a:cubicBezTo>
                  <a:cubicBezTo>
                    <a:pt x="106" y="346"/>
                    <a:pt x="111" y="342"/>
                    <a:pt x="115" y="338"/>
                  </a:cubicBezTo>
                  <a:cubicBezTo>
                    <a:pt x="115" y="338"/>
                    <a:pt x="116" y="338"/>
                    <a:pt x="116" y="338"/>
                  </a:cubicBezTo>
                  <a:cubicBezTo>
                    <a:pt x="120" y="334"/>
                    <a:pt x="125" y="329"/>
                    <a:pt x="129" y="325"/>
                  </a:cubicBezTo>
                  <a:cubicBezTo>
                    <a:pt x="129" y="325"/>
                    <a:pt x="130" y="325"/>
                    <a:pt x="130" y="324"/>
                  </a:cubicBezTo>
                  <a:cubicBezTo>
                    <a:pt x="136" y="319"/>
                    <a:pt x="141" y="312"/>
                    <a:pt x="147" y="306"/>
                  </a:cubicBezTo>
                  <a:cubicBezTo>
                    <a:pt x="147" y="306"/>
                    <a:pt x="147" y="305"/>
                    <a:pt x="148" y="305"/>
                  </a:cubicBezTo>
                  <a:cubicBezTo>
                    <a:pt x="153" y="300"/>
                    <a:pt x="158" y="294"/>
                    <a:pt x="162" y="288"/>
                  </a:cubicBezTo>
                  <a:cubicBezTo>
                    <a:pt x="163" y="287"/>
                    <a:pt x="163" y="287"/>
                    <a:pt x="163" y="287"/>
                  </a:cubicBezTo>
                  <a:cubicBezTo>
                    <a:pt x="167" y="282"/>
                    <a:pt x="172" y="276"/>
                    <a:pt x="176" y="271"/>
                  </a:cubicBezTo>
                  <a:cubicBezTo>
                    <a:pt x="176" y="270"/>
                    <a:pt x="176" y="270"/>
                    <a:pt x="176" y="270"/>
                  </a:cubicBezTo>
                  <a:cubicBezTo>
                    <a:pt x="181" y="264"/>
                    <a:pt x="186" y="257"/>
                    <a:pt x="190" y="251"/>
                  </a:cubicBezTo>
                  <a:cubicBezTo>
                    <a:pt x="190" y="251"/>
                    <a:pt x="190" y="251"/>
                    <a:pt x="191" y="250"/>
                  </a:cubicBezTo>
                  <a:cubicBezTo>
                    <a:pt x="207" y="227"/>
                    <a:pt x="223" y="203"/>
                    <a:pt x="239" y="180"/>
                  </a:cubicBezTo>
                  <a:cubicBezTo>
                    <a:pt x="239" y="180"/>
                    <a:pt x="239" y="180"/>
                    <a:pt x="239" y="180"/>
                  </a:cubicBezTo>
                  <a:cubicBezTo>
                    <a:pt x="244" y="173"/>
                    <a:pt x="248" y="167"/>
                    <a:pt x="253" y="160"/>
                  </a:cubicBezTo>
                  <a:cubicBezTo>
                    <a:pt x="253" y="160"/>
                    <a:pt x="253" y="160"/>
                    <a:pt x="253" y="160"/>
                  </a:cubicBezTo>
                  <a:cubicBezTo>
                    <a:pt x="261" y="149"/>
                    <a:pt x="269" y="138"/>
                    <a:pt x="277" y="128"/>
                  </a:cubicBezTo>
                  <a:cubicBezTo>
                    <a:pt x="278" y="127"/>
                    <a:pt x="279" y="126"/>
                    <a:pt x="279" y="125"/>
                  </a:cubicBezTo>
                  <a:cubicBezTo>
                    <a:pt x="280" y="125"/>
                    <a:pt x="280" y="124"/>
                    <a:pt x="280" y="124"/>
                  </a:cubicBezTo>
                  <a:cubicBezTo>
                    <a:pt x="285" y="118"/>
                    <a:pt x="290" y="113"/>
                    <a:pt x="295" y="107"/>
                  </a:cubicBezTo>
                  <a:cubicBezTo>
                    <a:pt x="295" y="107"/>
                    <a:pt x="295" y="107"/>
                    <a:pt x="295" y="106"/>
                  </a:cubicBezTo>
                  <a:cubicBezTo>
                    <a:pt x="304" y="97"/>
                    <a:pt x="313" y="87"/>
                    <a:pt x="322" y="79"/>
                  </a:cubicBezTo>
                  <a:cubicBezTo>
                    <a:pt x="322" y="79"/>
                    <a:pt x="323" y="79"/>
                    <a:pt x="323" y="79"/>
                  </a:cubicBezTo>
                  <a:cubicBezTo>
                    <a:pt x="329" y="73"/>
                    <a:pt x="335" y="69"/>
                    <a:pt x="341" y="64"/>
                  </a:cubicBezTo>
                  <a:cubicBezTo>
                    <a:pt x="341" y="64"/>
                    <a:pt x="342" y="64"/>
                    <a:pt x="342" y="64"/>
                  </a:cubicBezTo>
                  <a:lnTo>
                    <a:pt x="343" y="63"/>
                  </a:lnTo>
                  <a:cubicBezTo>
                    <a:pt x="343" y="63"/>
                    <a:pt x="343" y="63"/>
                    <a:pt x="343" y="63"/>
                  </a:cubicBezTo>
                  <a:cubicBezTo>
                    <a:pt x="344" y="62"/>
                    <a:pt x="345" y="61"/>
                    <a:pt x="346" y="61"/>
                  </a:cubicBezTo>
                  <a:lnTo>
                    <a:pt x="340" y="45"/>
                  </a:lnTo>
                  <a:cubicBezTo>
                    <a:pt x="337" y="47"/>
                    <a:pt x="334" y="50"/>
                    <a:pt x="331" y="52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225" y="140"/>
                    <a:pt x="180" y="283"/>
                    <a:pt x="63" y="361"/>
                  </a:cubicBezTo>
                  <a:cubicBezTo>
                    <a:pt x="65" y="364"/>
                    <a:pt x="66" y="366"/>
                    <a:pt x="68" y="369"/>
                  </a:cubicBezTo>
                  <a:lnTo>
                    <a:pt x="68" y="369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4700FD5B-E472-47EB-AE78-64E1E57BD8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230709" y="683683"/>
              <a:ext cx="438151" cy="514349"/>
            </a:xfrm>
            <a:custGeom>
              <a:avLst/>
              <a:gdLst>
                <a:gd name="T0" fmla="*/ 159 w 404"/>
                <a:gd name="T1" fmla="*/ 338 h 470"/>
                <a:gd name="T2" fmla="*/ 185 w 404"/>
                <a:gd name="T3" fmla="*/ 332 h 470"/>
                <a:gd name="T4" fmla="*/ 193 w 404"/>
                <a:gd name="T5" fmla="*/ 297 h 470"/>
                <a:gd name="T6" fmla="*/ 161 w 404"/>
                <a:gd name="T7" fmla="*/ 281 h 470"/>
                <a:gd name="T8" fmla="*/ 137 w 404"/>
                <a:gd name="T9" fmla="*/ 310 h 470"/>
                <a:gd name="T10" fmla="*/ 83 w 404"/>
                <a:gd name="T11" fmla="*/ 444 h 470"/>
                <a:gd name="T12" fmla="*/ 107 w 404"/>
                <a:gd name="T13" fmla="*/ 433 h 470"/>
                <a:gd name="T14" fmla="*/ 155 w 404"/>
                <a:gd name="T15" fmla="*/ 343 h 470"/>
                <a:gd name="T16" fmla="*/ 84 w 404"/>
                <a:gd name="T17" fmla="*/ 429 h 470"/>
                <a:gd name="T18" fmla="*/ 57 w 404"/>
                <a:gd name="T19" fmla="*/ 416 h 470"/>
                <a:gd name="T20" fmla="*/ 59 w 404"/>
                <a:gd name="T21" fmla="*/ 345 h 470"/>
                <a:gd name="T22" fmla="*/ 83 w 404"/>
                <a:gd name="T23" fmla="*/ 444 h 470"/>
                <a:gd name="T24" fmla="*/ 90 w 404"/>
                <a:gd name="T25" fmla="*/ 448 h 470"/>
                <a:gd name="T26" fmla="*/ 108 w 404"/>
                <a:gd name="T27" fmla="*/ 438 h 470"/>
                <a:gd name="T28" fmla="*/ 115 w 404"/>
                <a:gd name="T29" fmla="*/ 434 h 470"/>
                <a:gd name="T30" fmla="*/ 127 w 404"/>
                <a:gd name="T31" fmla="*/ 424 h 470"/>
                <a:gd name="T32" fmla="*/ 161 w 404"/>
                <a:gd name="T33" fmla="*/ 344 h 470"/>
                <a:gd name="T34" fmla="*/ 280 w 404"/>
                <a:gd name="T35" fmla="*/ 459 h 470"/>
                <a:gd name="T36" fmla="*/ 166 w 404"/>
                <a:gd name="T37" fmla="*/ 345 h 470"/>
                <a:gd name="T38" fmla="*/ 161 w 404"/>
                <a:gd name="T39" fmla="*/ 268 h 470"/>
                <a:gd name="T40" fmla="*/ 166 w 404"/>
                <a:gd name="T41" fmla="*/ 275 h 470"/>
                <a:gd name="T42" fmla="*/ 161 w 404"/>
                <a:gd name="T43" fmla="*/ 268 h 470"/>
                <a:gd name="T44" fmla="*/ 199 w 404"/>
                <a:gd name="T45" fmla="*/ 297 h 470"/>
                <a:gd name="T46" fmla="*/ 331 w 404"/>
                <a:gd name="T47" fmla="*/ 362 h 470"/>
                <a:gd name="T48" fmla="*/ 368 w 404"/>
                <a:gd name="T49" fmla="*/ 285 h 470"/>
                <a:gd name="T50" fmla="*/ 323 w 404"/>
                <a:gd name="T51" fmla="*/ 281 h 470"/>
                <a:gd name="T52" fmla="*/ 368 w 404"/>
                <a:gd name="T53" fmla="*/ 279 h 470"/>
                <a:gd name="T54" fmla="*/ 377 w 404"/>
                <a:gd name="T55" fmla="*/ 243 h 470"/>
                <a:gd name="T56" fmla="*/ 345 w 404"/>
                <a:gd name="T57" fmla="*/ 219 h 470"/>
                <a:gd name="T58" fmla="*/ 347 w 404"/>
                <a:gd name="T59" fmla="*/ 245 h 470"/>
                <a:gd name="T60" fmla="*/ 383 w 404"/>
                <a:gd name="T61" fmla="*/ 239 h 470"/>
                <a:gd name="T62" fmla="*/ 367 w 404"/>
                <a:gd name="T63" fmla="*/ 129 h 470"/>
                <a:gd name="T64" fmla="*/ 182 w 404"/>
                <a:gd name="T65" fmla="*/ 233 h 470"/>
                <a:gd name="T66" fmla="*/ 175 w 404"/>
                <a:gd name="T67" fmla="*/ 239 h 470"/>
                <a:gd name="T68" fmla="*/ 170 w 404"/>
                <a:gd name="T69" fmla="*/ 234 h 470"/>
                <a:gd name="T70" fmla="*/ 187 w 404"/>
                <a:gd name="T71" fmla="*/ 282 h 470"/>
                <a:gd name="T72" fmla="*/ 174 w 404"/>
                <a:gd name="T73" fmla="*/ 239 h 470"/>
                <a:gd name="T74" fmla="*/ 273 w 404"/>
                <a:gd name="T75" fmla="*/ 38 h 470"/>
                <a:gd name="T76" fmla="*/ 262 w 404"/>
                <a:gd name="T77" fmla="*/ 38 h 470"/>
                <a:gd name="T78" fmla="*/ 273 w 404"/>
                <a:gd name="T79" fmla="*/ 38 h 470"/>
                <a:gd name="T80" fmla="*/ 282 w 404"/>
                <a:gd name="T81" fmla="*/ 26 h 470"/>
                <a:gd name="T82" fmla="*/ 288 w 404"/>
                <a:gd name="T83" fmla="*/ 20 h 470"/>
                <a:gd name="T84" fmla="*/ 258 w 404"/>
                <a:gd name="T85" fmla="*/ 56 h 470"/>
                <a:gd name="T86" fmla="*/ 254 w 404"/>
                <a:gd name="T87" fmla="*/ 52 h 470"/>
                <a:gd name="T88" fmla="*/ 98 w 404"/>
                <a:gd name="T89" fmla="*/ 6 h 470"/>
                <a:gd name="T90" fmla="*/ 87 w 404"/>
                <a:gd name="T91" fmla="*/ 6 h 470"/>
                <a:gd name="T92" fmla="*/ 98 w 404"/>
                <a:gd name="T93" fmla="*/ 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4" h="470">
                  <a:moveTo>
                    <a:pt x="159" y="338"/>
                  </a:moveTo>
                  <a:lnTo>
                    <a:pt x="159" y="338"/>
                  </a:lnTo>
                  <a:cubicBezTo>
                    <a:pt x="159" y="338"/>
                    <a:pt x="159" y="338"/>
                    <a:pt x="159" y="338"/>
                  </a:cubicBezTo>
                  <a:cubicBezTo>
                    <a:pt x="161" y="339"/>
                    <a:pt x="164" y="339"/>
                    <a:pt x="166" y="339"/>
                  </a:cubicBezTo>
                  <a:cubicBezTo>
                    <a:pt x="173" y="339"/>
                    <a:pt x="180" y="337"/>
                    <a:pt x="185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92" y="327"/>
                    <a:pt x="196" y="319"/>
                    <a:pt x="196" y="310"/>
                  </a:cubicBezTo>
                  <a:cubicBezTo>
                    <a:pt x="196" y="305"/>
                    <a:pt x="195" y="301"/>
                    <a:pt x="193" y="298"/>
                  </a:cubicBezTo>
                  <a:cubicBezTo>
                    <a:pt x="193" y="297"/>
                    <a:pt x="193" y="297"/>
                    <a:pt x="193" y="297"/>
                  </a:cubicBezTo>
                  <a:cubicBezTo>
                    <a:pt x="188" y="287"/>
                    <a:pt x="178" y="281"/>
                    <a:pt x="166" y="281"/>
                  </a:cubicBezTo>
                  <a:cubicBezTo>
                    <a:pt x="165" y="281"/>
                    <a:pt x="163" y="281"/>
                    <a:pt x="162" y="281"/>
                  </a:cubicBezTo>
                  <a:lnTo>
                    <a:pt x="161" y="281"/>
                  </a:lnTo>
                  <a:cubicBezTo>
                    <a:pt x="156" y="282"/>
                    <a:pt x="151" y="284"/>
                    <a:pt x="147" y="288"/>
                  </a:cubicBezTo>
                  <a:lnTo>
                    <a:pt x="147" y="288"/>
                  </a:lnTo>
                  <a:cubicBezTo>
                    <a:pt x="141" y="293"/>
                    <a:pt x="137" y="301"/>
                    <a:pt x="137" y="310"/>
                  </a:cubicBezTo>
                  <a:cubicBezTo>
                    <a:pt x="137" y="323"/>
                    <a:pt x="146" y="335"/>
                    <a:pt x="159" y="338"/>
                  </a:cubicBezTo>
                  <a:lnTo>
                    <a:pt x="159" y="338"/>
                  </a:lnTo>
                  <a:close/>
                  <a:moveTo>
                    <a:pt x="83" y="444"/>
                  </a:moveTo>
                  <a:lnTo>
                    <a:pt x="83" y="444"/>
                  </a:lnTo>
                  <a:cubicBezTo>
                    <a:pt x="91" y="441"/>
                    <a:pt x="99" y="438"/>
                    <a:pt x="106" y="433"/>
                  </a:cubicBezTo>
                  <a:cubicBezTo>
                    <a:pt x="106" y="433"/>
                    <a:pt x="106" y="433"/>
                    <a:pt x="107" y="433"/>
                  </a:cubicBezTo>
                  <a:cubicBezTo>
                    <a:pt x="113" y="429"/>
                    <a:pt x="119" y="424"/>
                    <a:pt x="124" y="419"/>
                  </a:cubicBezTo>
                  <a:cubicBezTo>
                    <a:pt x="124" y="419"/>
                    <a:pt x="124" y="419"/>
                    <a:pt x="124" y="419"/>
                  </a:cubicBezTo>
                  <a:cubicBezTo>
                    <a:pt x="149" y="394"/>
                    <a:pt x="156" y="361"/>
                    <a:pt x="155" y="343"/>
                  </a:cubicBezTo>
                  <a:cubicBezTo>
                    <a:pt x="150" y="341"/>
                    <a:pt x="144" y="338"/>
                    <a:pt x="140" y="333"/>
                  </a:cubicBezTo>
                  <a:cubicBezTo>
                    <a:pt x="143" y="366"/>
                    <a:pt x="133" y="405"/>
                    <a:pt x="86" y="429"/>
                  </a:cubicBezTo>
                  <a:cubicBezTo>
                    <a:pt x="85" y="429"/>
                    <a:pt x="85" y="429"/>
                    <a:pt x="84" y="429"/>
                  </a:cubicBezTo>
                  <a:cubicBezTo>
                    <a:pt x="84" y="429"/>
                    <a:pt x="83" y="429"/>
                    <a:pt x="83" y="429"/>
                  </a:cubicBezTo>
                  <a:cubicBezTo>
                    <a:pt x="75" y="426"/>
                    <a:pt x="66" y="422"/>
                    <a:pt x="59" y="417"/>
                  </a:cubicBezTo>
                  <a:cubicBezTo>
                    <a:pt x="58" y="416"/>
                    <a:pt x="58" y="416"/>
                    <a:pt x="57" y="416"/>
                  </a:cubicBezTo>
                  <a:cubicBezTo>
                    <a:pt x="51" y="411"/>
                    <a:pt x="45" y="405"/>
                    <a:pt x="41" y="398"/>
                  </a:cubicBezTo>
                  <a:cubicBezTo>
                    <a:pt x="41" y="397"/>
                    <a:pt x="41" y="397"/>
                    <a:pt x="40" y="397"/>
                  </a:cubicBezTo>
                  <a:cubicBezTo>
                    <a:pt x="31" y="381"/>
                    <a:pt x="33" y="361"/>
                    <a:pt x="59" y="345"/>
                  </a:cubicBezTo>
                  <a:cubicBezTo>
                    <a:pt x="58" y="341"/>
                    <a:pt x="56" y="337"/>
                    <a:pt x="54" y="333"/>
                  </a:cubicBezTo>
                  <a:cubicBezTo>
                    <a:pt x="0" y="370"/>
                    <a:pt x="22" y="416"/>
                    <a:pt x="83" y="444"/>
                  </a:cubicBezTo>
                  <a:lnTo>
                    <a:pt x="83" y="444"/>
                  </a:lnTo>
                  <a:close/>
                  <a:moveTo>
                    <a:pt x="108" y="438"/>
                  </a:moveTo>
                  <a:lnTo>
                    <a:pt x="108" y="438"/>
                  </a:lnTo>
                  <a:cubicBezTo>
                    <a:pt x="103" y="442"/>
                    <a:pt x="97" y="445"/>
                    <a:pt x="90" y="448"/>
                  </a:cubicBezTo>
                  <a:cubicBezTo>
                    <a:pt x="122" y="461"/>
                    <a:pt x="164" y="470"/>
                    <a:pt x="208" y="469"/>
                  </a:cubicBezTo>
                  <a:cubicBezTo>
                    <a:pt x="182" y="459"/>
                    <a:pt x="133" y="443"/>
                    <a:pt x="108" y="438"/>
                  </a:cubicBezTo>
                  <a:lnTo>
                    <a:pt x="108" y="438"/>
                  </a:lnTo>
                  <a:close/>
                  <a:moveTo>
                    <a:pt x="127" y="424"/>
                  </a:moveTo>
                  <a:lnTo>
                    <a:pt x="127" y="424"/>
                  </a:lnTo>
                  <a:cubicBezTo>
                    <a:pt x="123" y="428"/>
                    <a:pt x="119" y="431"/>
                    <a:pt x="115" y="434"/>
                  </a:cubicBezTo>
                  <a:cubicBezTo>
                    <a:pt x="146" y="441"/>
                    <a:pt x="202" y="459"/>
                    <a:pt x="222" y="468"/>
                  </a:cubicBezTo>
                  <a:cubicBezTo>
                    <a:pt x="234" y="468"/>
                    <a:pt x="246" y="466"/>
                    <a:pt x="258" y="464"/>
                  </a:cubicBezTo>
                  <a:cubicBezTo>
                    <a:pt x="224" y="453"/>
                    <a:pt x="157" y="432"/>
                    <a:pt x="127" y="424"/>
                  </a:cubicBezTo>
                  <a:lnTo>
                    <a:pt x="127" y="424"/>
                  </a:lnTo>
                  <a:close/>
                  <a:moveTo>
                    <a:pt x="161" y="344"/>
                  </a:moveTo>
                  <a:lnTo>
                    <a:pt x="161" y="344"/>
                  </a:lnTo>
                  <a:cubicBezTo>
                    <a:pt x="161" y="363"/>
                    <a:pt x="154" y="395"/>
                    <a:pt x="131" y="420"/>
                  </a:cubicBezTo>
                  <a:cubicBezTo>
                    <a:pt x="166" y="428"/>
                    <a:pt x="241" y="452"/>
                    <a:pt x="269" y="462"/>
                  </a:cubicBezTo>
                  <a:cubicBezTo>
                    <a:pt x="273" y="461"/>
                    <a:pt x="277" y="460"/>
                    <a:pt x="280" y="459"/>
                  </a:cubicBezTo>
                  <a:cubicBezTo>
                    <a:pt x="276" y="437"/>
                    <a:pt x="276" y="405"/>
                    <a:pt x="287" y="370"/>
                  </a:cubicBezTo>
                  <a:cubicBezTo>
                    <a:pt x="256" y="368"/>
                    <a:pt x="220" y="358"/>
                    <a:pt x="187" y="338"/>
                  </a:cubicBezTo>
                  <a:cubicBezTo>
                    <a:pt x="181" y="342"/>
                    <a:pt x="174" y="345"/>
                    <a:pt x="166" y="345"/>
                  </a:cubicBezTo>
                  <a:cubicBezTo>
                    <a:pt x="164" y="345"/>
                    <a:pt x="163" y="345"/>
                    <a:pt x="161" y="344"/>
                  </a:cubicBezTo>
                  <a:lnTo>
                    <a:pt x="161" y="344"/>
                  </a:lnTo>
                  <a:close/>
                  <a:moveTo>
                    <a:pt x="161" y="268"/>
                  </a:moveTo>
                  <a:lnTo>
                    <a:pt x="161" y="268"/>
                  </a:lnTo>
                  <a:cubicBezTo>
                    <a:pt x="161" y="271"/>
                    <a:pt x="162" y="273"/>
                    <a:pt x="163" y="275"/>
                  </a:cubicBezTo>
                  <a:cubicBezTo>
                    <a:pt x="164" y="275"/>
                    <a:pt x="165" y="275"/>
                    <a:pt x="166" y="275"/>
                  </a:cubicBezTo>
                  <a:cubicBezTo>
                    <a:pt x="172" y="275"/>
                    <a:pt x="177" y="276"/>
                    <a:pt x="182" y="279"/>
                  </a:cubicBezTo>
                  <a:cubicBezTo>
                    <a:pt x="185" y="263"/>
                    <a:pt x="170" y="257"/>
                    <a:pt x="161" y="268"/>
                  </a:cubicBezTo>
                  <a:lnTo>
                    <a:pt x="161" y="268"/>
                  </a:lnTo>
                  <a:close/>
                  <a:moveTo>
                    <a:pt x="181" y="240"/>
                  </a:moveTo>
                  <a:lnTo>
                    <a:pt x="181" y="240"/>
                  </a:lnTo>
                  <a:cubicBezTo>
                    <a:pt x="206" y="246"/>
                    <a:pt x="214" y="278"/>
                    <a:pt x="199" y="297"/>
                  </a:cubicBezTo>
                  <a:cubicBezTo>
                    <a:pt x="200" y="301"/>
                    <a:pt x="201" y="305"/>
                    <a:pt x="201" y="310"/>
                  </a:cubicBezTo>
                  <a:cubicBezTo>
                    <a:pt x="201" y="319"/>
                    <a:pt x="197" y="328"/>
                    <a:pt x="191" y="334"/>
                  </a:cubicBezTo>
                  <a:cubicBezTo>
                    <a:pt x="240" y="364"/>
                    <a:pt x="295" y="369"/>
                    <a:pt x="331" y="362"/>
                  </a:cubicBezTo>
                  <a:cubicBezTo>
                    <a:pt x="369" y="354"/>
                    <a:pt x="382" y="333"/>
                    <a:pt x="359" y="312"/>
                  </a:cubicBezTo>
                  <a:cubicBezTo>
                    <a:pt x="354" y="308"/>
                    <a:pt x="366" y="297"/>
                    <a:pt x="374" y="296"/>
                  </a:cubicBezTo>
                  <a:cubicBezTo>
                    <a:pt x="375" y="291"/>
                    <a:pt x="373" y="287"/>
                    <a:pt x="368" y="285"/>
                  </a:cubicBezTo>
                  <a:cubicBezTo>
                    <a:pt x="357" y="284"/>
                    <a:pt x="338" y="290"/>
                    <a:pt x="325" y="293"/>
                  </a:cubicBezTo>
                  <a:cubicBezTo>
                    <a:pt x="325" y="295"/>
                    <a:pt x="321" y="296"/>
                    <a:pt x="320" y="293"/>
                  </a:cubicBezTo>
                  <a:cubicBezTo>
                    <a:pt x="319" y="289"/>
                    <a:pt x="322" y="283"/>
                    <a:pt x="323" y="281"/>
                  </a:cubicBezTo>
                  <a:cubicBezTo>
                    <a:pt x="325" y="277"/>
                    <a:pt x="329" y="280"/>
                    <a:pt x="328" y="283"/>
                  </a:cubicBezTo>
                  <a:cubicBezTo>
                    <a:pt x="327" y="284"/>
                    <a:pt x="327" y="285"/>
                    <a:pt x="326" y="287"/>
                  </a:cubicBezTo>
                  <a:cubicBezTo>
                    <a:pt x="339" y="284"/>
                    <a:pt x="356" y="278"/>
                    <a:pt x="368" y="279"/>
                  </a:cubicBezTo>
                  <a:cubicBezTo>
                    <a:pt x="371" y="277"/>
                    <a:pt x="379" y="271"/>
                    <a:pt x="378" y="267"/>
                  </a:cubicBezTo>
                  <a:cubicBezTo>
                    <a:pt x="377" y="266"/>
                    <a:pt x="376" y="265"/>
                    <a:pt x="375" y="263"/>
                  </a:cubicBezTo>
                  <a:cubicBezTo>
                    <a:pt x="369" y="255"/>
                    <a:pt x="371" y="249"/>
                    <a:pt x="377" y="243"/>
                  </a:cubicBezTo>
                  <a:cubicBezTo>
                    <a:pt x="367" y="242"/>
                    <a:pt x="355" y="243"/>
                    <a:pt x="349" y="250"/>
                  </a:cubicBezTo>
                  <a:cubicBezTo>
                    <a:pt x="345" y="255"/>
                    <a:pt x="338" y="243"/>
                    <a:pt x="338" y="242"/>
                  </a:cubicBezTo>
                  <a:cubicBezTo>
                    <a:pt x="335" y="236"/>
                    <a:pt x="335" y="228"/>
                    <a:pt x="345" y="219"/>
                  </a:cubicBezTo>
                  <a:cubicBezTo>
                    <a:pt x="347" y="216"/>
                    <a:pt x="351" y="221"/>
                    <a:pt x="349" y="223"/>
                  </a:cubicBezTo>
                  <a:cubicBezTo>
                    <a:pt x="341" y="230"/>
                    <a:pt x="339" y="237"/>
                    <a:pt x="346" y="244"/>
                  </a:cubicBezTo>
                  <a:lnTo>
                    <a:pt x="347" y="245"/>
                  </a:lnTo>
                  <a:cubicBezTo>
                    <a:pt x="357" y="237"/>
                    <a:pt x="371" y="236"/>
                    <a:pt x="383" y="239"/>
                  </a:cubicBezTo>
                  <a:lnTo>
                    <a:pt x="383" y="239"/>
                  </a:lnTo>
                  <a:lnTo>
                    <a:pt x="383" y="239"/>
                  </a:lnTo>
                  <a:cubicBezTo>
                    <a:pt x="404" y="237"/>
                    <a:pt x="403" y="229"/>
                    <a:pt x="397" y="213"/>
                  </a:cubicBezTo>
                  <a:cubicBezTo>
                    <a:pt x="395" y="207"/>
                    <a:pt x="392" y="200"/>
                    <a:pt x="389" y="191"/>
                  </a:cubicBezTo>
                  <a:cubicBezTo>
                    <a:pt x="384" y="180"/>
                    <a:pt x="376" y="155"/>
                    <a:pt x="367" y="129"/>
                  </a:cubicBezTo>
                  <a:cubicBezTo>
                    <a:pt x="343" y="119"/>
                    <a:pt x="308" y="125"/>
                    <a:pt x="282" y="137"/>
                  </a:cubicBezTo>
                  <a:cubicBezTo>
                    <a:pt x="275" y="147"/>
                    <a:pt x="266" y="156"/>
                    <a:pt x="252" y="165"/>
                  </a:cubicBezTo>
                  <a:cubicBezTo>
                    <a:pt x="246" y="202"/>
                    <a:pt x="216" y="229"/>
                    <a:pt x="182" y="233"/>
                  </a:cubicBezTo>
                  <a:lnTo>
                    <a:pt x="181" y="240"/>
                  </a:lnTo>
                  <a:lnTo>
                    <a:pt x="181" y="240"/>
                  </a:lnTo>
                  <a:close/>
                  <a:moveTo>
                    <a:pt x="175" y="239"/>
                  </a:moveTo>
                  <a:lnTo>
                    <a:pt x="175" y="239"/>
                  </a:lnTo>
                  <a:lnTo>
                    <a:pt x="176" y="234"/>
                  </a:lnTo>
                  <a:cubicBezTo>
                    <a:pt x="174" y="234"/>
                    <a:pt x="172" y="234"/>
                    <a:pt x="170" y="234"/>
                  </a:cubicBezTo>
                  <a:cubicBezTo>
                    <a:pt x="166" y="239"/>
                    <a:pt x="162" y="244"/>
                    <a:pt x="158" y="249"/>
                  </a:cubicBezTo>
                  <a:cubicBezTo>
                    <a:pt x="158" y="253"/>
                    <a:pt x="158" y="258"/>
                    <a:pt x="159" y="261"/>
                  </a:cubicBezTo>
                  <a:cubicBezTo>
                    <a:pt x="171" y="252"/>
                    <a:pt x="194" y="258"/>
                    <a:pt x="187" y="282"/>
                  </a:cubicBezTo>
                  <a:cubicBezTo>
                    <a:pt x="190" y="284"/>
                    <a:pt x="193" y="287"/>
                    <a:pt x="196" y="291"/>
                  </a:cubicBezTo>
                  <a:cubicBezTo>
                    <a:pt x="208" y="274"/>
                    <a:pt x="198" y="245"/>
                    <a:pt x="173" y="245"/>
                  </a:cubicBezTo>
                  <a:cubicBezTo>
                    <a:pt x="170" y="244"/>
                    <a:pt x="170" y="239"/>
                    <a:pt x="174" y="239"/>
                  </a:cubicBezTo>
                  <a:cubicBezTo>
                    <a:pt x="174" y="239"/>
                    <a:pt x="175" y="239"/>
                    <a:pt x="175" y="239"/>
                  </a:cubicBezTo>
                  <a:lnTo>
                    <a:pt x="175" y="239"/>
                  </a:lnTo>
                  <a:close/>
                  <a:moveTo>
                    <a:pt x="273" y="38"/>
                  </a:moveTo>
                  <a:lnTo>
                    <a:pt x="273" y="38"/>
                  </a:lnTo>
                  <a:cubicBezTo>
                    <a:pt x="273" y="41"/>
                    <a:pt x="270" y="43"/>
                    <a:pt x="268" y="43"/>
                  </a:cubicBezTo>
                  <a:cubicBezTo>
                    <a:pt x="265" y="43"/>
                    <a:pt x="262" y="41"/>
                    <a:pt x="262" y="38"/>
                  </a:cubicBezTo>
                  <a:cubicBezTo>
                    <a:pt x="262" y="35"/>
                    <a:pt x="265" y="33"/>
                    <a:pt x="268" y="33"/>
                  </a:cubicBezTo>
                  <a:cubicBezTo>
                    <a:pt x="270" y="33"/>
                    <a:pt x="273" y="35"/>
                    <a:pt x="273" y="38"/>
                  </a:cubicBezTo>
                  <a:lnTo>
                    <a:pt x="273" y="38"/>
                  </a:lnTo>
                  <a:close/>
                  <a:moveTo>
                    <a:pt x="288" y="20"/>
                  </a:moveTo>
                  <a:lnTo>
                    <a:pt x="288" y="20"/>
                  </a:lnTo>
                  <a:cubicBezTo>
                    <a:pt x="288" y="24"/>
                    <a:pt x="285" y="26"/>
                    <a:pt x="282" y="26"/>
                  </a:cubicBezTo>
                  <a:cubicBezTo>
                    <a:pt x="279" y="26"/>
                    <a:pt x="276" y="24"/>
                    <a:pt x="276" y="20"/>
                  </a:cubicBezTo>
                  <a:cubicBezTo>
                    <a:pt x="276" y="17"/>
                    <a:pt x="279" y="15"/>
                    <a:pt x="282" y="15"/>
                  </a:cubicBezTo>
                  <a:cubicBezTo>
                    <a:pt x="285" y="15"/>
                    <a:pt x="288" y="17"/>
                    <a:pt x="288" y="20"/>
                  </a:cubicBezTo>
                  <a:lnTo>
                    <a:pt x="288" y="20"/>
                  </a:lnTo>
                  <a:close/>
                  <a:moveTo>
                    <a:pt x="258" y="56"/>
                  </a:moveTo>
                  <a:lnTo>
                    <a:pt x="258" y="56"/>
                  </a:lnTo>
                  <a:cubicBezTo>
                    <a:pt x="258" y="59"/>
                    <a:pt x="256" y="61"/>
                    <a:pt x="254" y="61"/>
                  </a:cubicBezTo>
                  <a:cubicBezTo>
                    <a:pt x="251" y="61"/>
                    <a:pt x="249" y="59"/>
                    <a:pt x="249" y="56"/>
                  </a:cubicBezTo>
                  <a:cubicBezTo>
                    <a:pt x="249" y="54"/>
                    <a:pt x="251" y="52"/>
                    <a:pt x="254" y="52"/>
                  </a:cubicBezTo>
                  <a:cubicBezTo>
                    <a:pt x="256" y="52"/>
                    <a:pt x="258" y="54"/>
                    <a:pt x="258" y="56"/>
                  </a:cubicBezTo>
                  <a:lnTo>
                    <a:pt x="258" y="56"/>
                  </a:lnTo>
                  <a:close/>
                  <a:moveTo>
                    <a:pt x="98" y="6"/>
                  </a:moveTo>
                  <a:lnTo>
                    <a:pt x="98" y="6"/>
                  </a:lnTo>
                  <a:cubicBezTo>
                    <a:pt x="98" y="9"/>
                    <a:pt x="95" y="12"/>
                    <a:pt x="92" y="12"/>
                  </a:cubicBezTo>
                  <a:cubicBezTo>
                    <a:pt x="89" y="12"/>
                    <a:pt x="87" y="9"/>
                    <a:pt x="87" y="6"/>
                  </a:cubicBezTo>
                  <a:cubicBezTo>
                    <a:pt x="87" y="3"/>
                    <a:pt x="89" y="0"/>
                    <a:pt x="92" y="0"/>
                  </a:cubicBezTo>
                  <a:cubicBezTo>
                    <a:pt x="95" y="0"/>
                    <a:pt x="98" y="3"/>
                    <a:pt x="98" y="6"/>
                  </a:cubicBezTo>
                  <a:lnTo>
                    <a:pt x="98" y="6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DE979629-D2D5-4AF8-AB58-0DE3B1C69F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93691" y="846666"/>
              <a:ext cx="251884" cy="194733"/>
            </a:xfrm>
            <a:custGeom>
              <a:avLst/>
              <a:gdLst>
                <a:gd name="T0" fmla="*/ 15 w 232"/>
                <a:gd name="T1" fmla="*/ 172 h 178"/>
                <a:gd name="T2" fmla="*/ 15 w 232"/>
                <a:gd name="T3" fmla="*/ 172 h 178"/>
                <a:gd name="T4" fmla="*/ 25 w 232"/>
                <a:gd name="T5" fmla="*/ 162 h 178"/>
                <a:gd name="T6" fmla="*/ 15 w 232"/>
                <a:gd name="T7" fmla="*/ 152 h 178"/>
                <a:gd name="T8" fmla="*/ 5 w 232"/>
                <a:gd name="T9" fmla="*/ 162 h 178"/>
                <a:gd name="T10" fmla="*/ 15 w 232"/>
                <a:gd name="T11" fmla="*/ 172 h 178"/>
                <a:gd name="T12" fmla="*/ 15 w 232"/>
                <a:gd name="T13" fmla="*/ 172 h 178"/>
                <a:gd name="T14" fmla="*/ 15 w 232"/>
                <a:gd name="T15" fmla="*/ 178 h 178"/>
                <a:gd name="T16" fmla="*/ 15 w 232"/>
                <a:gd name="T17" fmla="*/ 178 h 178"/>
                <a:gd name="T18" fmla="*/ 0 w 232"/>
                <a:gd name="T19" fmla="*/ 162 h 178"/>
                <a:gd name="T20" fmla="*/ 15 w 232"/>
                <a:gd name="T21" fmla="*/ 146 h 178"/>
                <a:gd name="T22" fmla="*/ 31 w 232"/>
                <a:gd name="T23" fmla="*/ 162 h 178"/>
                <a:gd name="T24" fmla="*/ 15 w 232"/>
                <a:gd name="T25" fmla="*/ 178 h 178"/>
                <a:gd name="T26" fmla="*/ 15 w 232"/>
                <a:gd name="T27" fmla="*/ 178 h 178"/>
                <a:gd name="T28" fmla="*/ 232 w 232"/>
                <a:gd name="T29" fmla="*/ 91 h 178"/>
                <a:gd name="T30" fmla="*/ 232 w 232"/>
                <a:gd name="T31" fmla="*/ 91 h 178"/>
                <a:gd name="T32" fmla="*/ 232 w 232"/>
                <a:gd name="T33" fmla="*/ 91 h 178"/>
                <a:gd name="T34" fmla="*/ 232 w 232"/>
                <a:gd name="T35" fmla="*/ 91 h 178"/>
                <a:gd name="T36" fmla="*/ 232 w 232"/>
                <a:gd name="T37" fmla="*/ 91 h 178"/>
                <a:gd name="T38" fmla="*/ 232 w 232"/>
                <a:gd name="T39" fmla="*/ 91 h 178"/>
                <a:gd name="T40" fmla="*/ 149 w 232"/>
                <a:gd name="T41" fmla="*/ 27 h 178"/>
                <a:gd name="T42" fmla="*/ 149 w 232"/>
                <a:gd name="T43" fmla="*/ 27 h 178"/>
                <a:gd name="T44" fmla="*/ 147 w 232"/>
                <a:gd name="T45" fmla="*/ 11 h 178"/>
                <a:gd name="T46" fmla="*/ 124 w 232"/>
                <a:gd name="T47" fmla="*/ 23 h 178"/>
                <a:gd name="T48" fmla="*/ 135 w 232"/>
                <a:gd name="T49" fmla="*/ 26 h 178"/>
                <a:gd name="T50" fmla="*/ 149 w 232"/>
                <a:gd name="T51" fmla="*/ 27 h 178"/>
                <a:gd name="T52" fmla="*/ 149 w 232"/>
                <a:gd name="T53" fmla="*/ 27 h 178"/>
                <a:gd name="T54" fmla="*/ 153 w 232"/>
                <a:gd name="T55" fmla="*/ 9 h 178"/>
                <a:gd name="T56" fmla="*/ 153 w 232"/>
                <a:gd name="T57" fmla="*/ 9 h 178"/>
                <a:gd name="T58" fmla="*/ 155 w 232"/>
                <a:gd name="T59" fmla="*/ 28 h 178"/>
                <a:gd name="T60" fmla="*/ 166 w 232"/>
                <a:gd name="T61" fmla="*/ 27 h 178"/>
                <a:gd name="T62" fmla="*/ 163 w 232"/>
                <a:gd name="T63" fmla="*/ 17 h 178"/>
                <a:gd name="T64" fmla="*/ 164 w 232"/>
                <a:gd name="T65" fmla="*/ 7 h 178"/>
                <a:gd name="T66" fmla="*/ 153 w 232"/>
                <a:gd name="T67" fmla="*/ 9 h 178"/>
                <a:gd name="T68" fmla="*/ 153 w 232"/>
                <a:gd name="T69" fmla="*/ 9 h 178"/>
                <a:gd name="T70" fmla="*/ 177 w 232"/>
                <a:gd name="T71" fmla="*/ 1 h 178"/>
                <a:gd name="T72" fmla="*/ 177 w 232"/>
                <a:gd name="T73" fmla="*/ 1 h 178"/>
                <a:gd name="T74" fmla="*/ 187 w 232"/>
                <a:gd name="T75" fmla="*/ 1 h 178"/>
                <a:gd name="T76" fmla="*/ 190 w 232"/>
                <a:gd name="T77" fmla="*/ 4 h 178"/>
                <a:gd name="T78" fmla="*/ 182 w 232"/>
                <a:gd name="T79" fmla="*/ 10 h 178"/>
                <a:gd name="T80" fmla="*/ 183 w 232"/>
                <a:gd name="T81" fmla="*/ 15 h 178"/>
                <a:gd name="T82" fmla="*/ 175 w 232"/>
                <a:gd name="T83" fmla="*/ 32 h 178"/>
                <a:gd name="T84" fmla="*/ 175 w 232"/>
                <a:gd name="T85" fmla="*/ 32 h 178"/>
                <a:gd name="T86" fmla="*/ 154 w 232"/>
                <a:gd name="T87" fmla="*/ 33 h 178"/>
                <a:gd name="T88" fmla="*/ 152 w 232"/>
                <a:gd name="T89" fmla="*/ 33 h 178"/>
                <a:gd name="T90" fmla="*/ 119 w 232"/>
                <a:gd name="T91" fmla="*/ 27 h 178"/>
                <a:gd name="T92" fmla="*/ 119 w 232"/>
                <a:gd name="T93" fmla="*/ 27 h 178"/>
                <a:gd name="T94" fmla="*/ 114 w 232"/>
                <a:gd name="T95" fmla="*/ 24 h 178"/>
                <a:gd name="T96" fmla="*/ 116 w 232"/>
                <a:gd name="T97" fmla="*/ 22 h 178"/>
                <a:gd name="T98" fmla="*/ 117 w 232"/>
                <a:gd name="T99" fmla="*/ 21 h 178"/>
                <a:gd name="T100" fmla="*/ 177 w 232"/>
                <a:gd name="T101" fmla="*/ 1 h 178"/>
                <a:gd name="T102" fmla="*/ 177 w 232"/>
                <a:gd name="T103" fmla="*/ 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178">
                  <a:moveTo>
                    <a:pt x="15" y="172"/>
                  </a:moveTo>
                  <a:lnTo>
                    <a:pt x="15" y="172"/>
                  </a:lnTo>
                  <a:cubicBezTo>
                    <a:pt x="21" y="172"/>
                    <a:pt x="25" y="167"/>
                    <a:pt x="25" y="162"/>
                  </a:cubicBezTo>
                  <a:cubicBezTo>
                    <a:pt x="25" y="156"/>
                    <a:pt x="21" y="152"/>
                    <a:pt x="15" y="152"/>
                  </a:cubicBezTo>
                  <a:cubicBezTo>
                    <a:pt x="10" y="152"/>
                    <a:pt x="5" y="156"/>
                    <a:pt x="5" y="162"/>
                  </a:cubicBezTo>
                  <a:cubicBezTo>
                    <a:pt x="5" y="167"/>
                    <a:pt x="10" y="172"/>
                    <a:pt x="15" y="172"/>
                  </a:cubicBezTo>
                  <a:lnTo>
                    <a:pt x="15" y="172"/>
                  </a:lnTo>
                  <a:close/>
                  <a:moveTo>
                    <a:pt x="15" y="178"/>
                  </a:moveTo>
                  <a:lnTo>
                    <a:pt x="15" y="178"/>
                  </a:lnTo>
                  <a:cubicBezTo>
                    <a:pt x="7" y="178"/>
                    <a:pt x="0" y="170"/>
                    <a:pt x="0" y="162"/>
                  </a:cubicBezTo>
                  <a:cubicBezTo>
                    <a:pt x="0" y="153"/>
                    <a:pt x="7" y="146"/>
                    <a:pt x="15" y="146"/>
                  </a:cubicBezTo>
                  <a:cubicBezTo>
                    <a:pt x="24" y="146"/>
                    <a:pt x="31" y="153"/>
                    <a:pt x="31" y="162"/>
                  </a:cubicBezTo>
                  <a:cubicBezTo>
                    <a:pt x="31" y="170"/>
                    <a:pt x="24" y="178"/>
                    <a:pt x="15" y="178"/>
                  </a:cubicBezTo>
                  <a:lnTo>
                    <a:pt x="15" y="178"/>
                  </a:lnTo>
                  <a:close/>
                  <a:moveTo>
                    <a:pt x="232" y="91"/>
                  </a:moveTo>
                  <a:lnTo>
                    <a:pt x="232" y="91"/>
                  </a:lnTo>
                  <a:cubicBezTo>
                    <a:pt x="232" y="91"/>
                    <a:pt x="232" y="91"/>
                    <a:pt x="232" y="91"/>
                  </a:cubicBezTo>
                  <a:lnTo>
                    <a:pt x="232" y="91"/>
                  </a:lnTo>
                  <a:lnTo>
                    <a:pt x="232" y="91"/>
                  </a:lnTo>
                  <a:lnTo>
                    <a:pt x="232" y="91"/>
                  </a:lnTo>
                  <a:close/>
                  <a:moveTo>
                    <a:pt x="149" y="27"/>
                  </a:moveTo>
                  <a:lnTo>
                    <a:pt x="149" y="27"/>
                  </a:lnTo>
                  <a:cubicBezTo>
                    <a:pt x="147" y="23"/>
                    <a:pt x="147" y="17"/>
                    <a:pt x="147" y="11"/>
                  </a:cubicBezTo>
                  <a:cubicBezTo>
                    <a:pt x="139" y="13"/>
                    <a:pt x="131" y="17"/>
                    <a:pt x="124" y="23"/>
                  </a:cubicBezTo>
                  <a:cubicBezTo>
                    <a:pt x="126" y="23"/>
                    <a:pt x="130" y="25"/>
                    <a:pt x="135" y="26"/>
                  </a:cubicBezTo>
                  <a:cubicBezTo>
                    <a:pt x="139" y="26"/>
                    <a:pt x="144" y="27"/>
                    <a:pt x="149" y="27"/>
                  </a:cubicBezTo>
                  <a:lnTo>
                    <a:pt x="149" y="27"/>
                  </a:lnTo>
                  <a:close/>
                  <a:moveTo>
                    <a:pt x="153" y="9"/>
                  </a:moveTo>
                  <a:lnTo>
                    <a:pt x="153" y="9"/>
                  </a:lnTo>
                  <a:cubicBezTo>
                    <a:pt x="152" y="17"/>
                    <a:pt x="153" y="23"/>
                    <a:pt x="155" y="28"/>
                  </a:cubicBezTo>
                  <a:cubicBezTo>
                    <a:pt x="159" y="28"/>
                    <a:pt x="162" y="27"/>
                    <a:pt x="166" y="27"/>
                  </a:cubicBezTo>
                  <a:cubicBezTo>
                    <a:pt x="164" y="25"/>
                    <a:pt x="163" y="21"/>
                    <a:pt x="163" y="17"/>
                  </a:cubicBezTo>
                  <a:cubicBezTo>
                    <a:pt x="163" y="14"/>
                    <a:pt x="163" y="10"/>
                    <a:pt x="164" y="7"/>
                  </a:cubicBezTo>
                  <a:cubicBezTo>
                    <a:pt x="161" y="8"/>
                    <a:pt x="157" y="8"/>
                    <a:pt x="153" y="9"/>
                  </a:cubicBezTo>
                  <a:lnTo>
                    <a:pt x="153" y="9"/>
                  </a:lnTo>
                  <a:close/>
                  <a:moveTo>
                    <a:pt x="177" y="1"/>
                  </a:moveTo>
                  <a:lnTo>
                    <a:pt x="177" y="1"/>
                  </a:lnTo>
                  <a:cubicBezTo>
                    <a:pt x="180" y="1"/>
                    <a:pt x="184" y="0"/>
                    <a:pt x="187" y="1"/>
                  </a:cubicBezTo>
                  <a:cubicBezTo>
                    <a:pt x="189" y="1"/>
                    <a:pt x="190" y="3"/>
                    <a:pt x="190" y="4"/>
                  </a:cubicBezTo>
                  <a:cubicBezTo>
                    <a:pt x="190" y="7"/>
                    <a:pt x="185" y="9"/>
                    <a:pt x="182" y="10"/>
                  </a:cubicBezTo>
                  <a:cubicBezTo>
                    <a:pt x="182" y="12"/>
                    <a:pt x="183" y="14"/>
                    <a:pt x="183" y="15"/>
                  </a:cubicBezTo>
                  <a:cubicBezTo>
                    <a:pt x="184" y="23"/>
                    <a:pt x="180" y="30"/>
                    <a:pt x="175" y="32"/>
                  </a:cubicBezTo>
                  <a:cubicBezTo>
                    <a:pt x="175" y="32"/>
                    <a:pt x="175" y="32"/>
                    <a:pt x="175" y="32"/>
                  </a:cubicBezTo>
                  <a:cubicBezTo>
                    <a:pt x="168" y="33"/>
                    <a:pt x="161" y="33"/>
                    <a:pt x="154" y="33"/>
                  </a:cubicBezTo>
                  <a:cubicBezTo>
                    <a:pt x="153" y="33"/>
                    <a:pt x="153" y="33"/>
                    <a:pt x="152" y="33"/>
                  </a:cubicBezTo>
                  <a:cubicBezTo>
                    <a:pt x="141" y="33"/>
                    <a:pt x="129" y="31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30"/>
                    <a:pt x="112" y="27"/>
                    <a:pt x="114" y="24"/>
                  </a:cubicBezTo>
                  <a:cubicBezTo>
                    <a:pt x="114" y="24"/>
                    <a:pt x="115" y="23"/>
                    <a:pt x="116" y="22"/>
                  </a:cubicBezTo>
                  <a:cubicBezTo>
                    <a:pt x="116" y="22"/>
                    <a:pt x="117" y="21"/>
                    <a:pt x="117" y="21"/>
                  </a:cubicBezTo>
                  <a:cubicBezTo>
                    <a:pt x="123" y="15"/>
                    <a:pt x="142" y="1"/>
                    <a:pt x="177" y="1"/>
                  </a:cubicBezTo>
                  <a:lnTo>
                    <a:pt x="177" y="1"/>
                  </a:lnTo>
                  <a:close/>
                </a:path>
              </a:pathLst>
            </a:custGeom>
            <a:noFill/>
            <a:ln w="1588" cap="flat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4267"/>
            </a:p>
          </p:txBody>
        </p:sp>
      </p:grpSp>
    </p:spTree>
    <p:extLst>
      <p:ext uri="{BB962C8B-B14F-4D97-AF65-F5344CB8AC3E}">
        <p14:creationId xmlns:p14="http://schemas.microsoft.com/office/powerpoint/2010/main" val="989802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4" r:id="rId1"/>
    <p:sldLayoutId id="2147484345" r:id="rId2"/>
    <p:sldLayoutId id="2147484346" r:id="rId3"/>
    <p:sldLayoutId id="2147484347" r:id="rId4"/>
    <p:sldLayoutId id="2147484348" r:id="rId5"/>
    <p:sldLayoutId id="2147484349" r:id="rId6"/>
    <p:sldLayoutId id="2147484350" r:id="rId7"/>
    <p:sldLayoutId id="2147484351" r:id="rId8"/>
    <p:sldLayoutId id="2147484352" r:id="rId9"/>
    <p:sldLayoutId id="2147484353" r:id="rId10"/>
    <p:sldLayoutId id="2147484354" r:id="rId11"/>
    <p:sldLayoutId id="2147484355" r:id="rId12"/>
  </p:sldLayoutIdLst>
  <p:hf hdr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000" cap="all" spc="200" baseline="0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Arial Black" charset="0"/>
          <a:ea typeface="MS PGothic" panose="020B0600070205080204" pitchFamily="34" charset="-128"/>
          <a:cs typeface="Arial Black" panose="020B0A04020102020204" pitchFamily="34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0" fontAlgn="base" hangingPunct="0">
        <a:lnSpc>
          <a:spcPct val="80000"/>
        </a:lnSpc>
        <a:spcBef>
          <a:spcPts val="267"/>
        </a:spcBef>
        <a:spcAft>
          <a:spcPts val="300"/>
        </a:spcAft>
        <a:buFont typeface="Wingdings" charset="0"/>
        <a:defRPr sz="4267" cap="all" spc="133">
          <a:solidFill>
            <a:schemeClr val="tx1"/>
          </a:solidFill>
          <a:latin typeface="Arial Black"/>
          <a:ea typeface="MS PGothic" panose="020B0600070205080204" pitchFamily="34" charset="-128"/>
          <a:cs typeface="Arial Black"/>
        </a:defRPr>
      </a:lvl1pPr>
      <a:lvl2pPr marL="2117" indent="-2117" algn="l" rtl="0" eaLnBrk="0" fontAlgn="base" hangingPunct="0">
        <a:spcBef>
          <a:spcPts val="267"/>
        </a:spcBef>
        <a:spcAft>
          <a:spcPts val="300"/>
        </a:spcAft>
        <a:buFont typeface="Wingdings" charset="0"/>
        <a:defRPr sz="2133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2pPr>
      <a:lvl3pPr marL="0" indent="0" algn="l" rtl="0" eaLnBrk="0" fontAlgn="base" hangingPunct="0">
        <a:spcBef>
          <a:spcPts val="267"/>
        </a:spcBef>
        <a:spcAft>
          <a:spcPts val="300"/>
        </a:spcAft>
        <a:buFont typeface="Wingdings" charset="0"/>
        <a:buNone/>
        <a:defRPr sz="1867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3pPr>
      <a:lvl4pPr marL="479988" indent="-234945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4pPr>
      <a:lvl5pPr marL="715415" indent="-241294" algn="l" rtl="0" eaLnBrk="0" fontAlgn="base" hangingPunct="0">
        <a:spcBef>
          <a:spcPts val="267"/>
        </a:spcBef>
        <a:spcAft>
          <a:spcPts val="300"/>
        </a:spcAft>
        <a:buFont typeface="Wingdings" charset="0"/>
        <a:buChar char="§"/>
        <a:tabLst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Tahoma" pitchFamily="34" charset="0"/>
        </a:defRPr>
      </a:lvl5pPr>
      <a:lvl6pPr marL="1820288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6pPr>
      <a:lvl7pPr marL="2429873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7pPr>
      <a:lvl8pPr marL="3039457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8pPr>
      <a:lvl9pPr marL="3649042" indent="-25187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133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011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pos="5155" userDrawn="1">
          <p15:clr>
            <a:srgbClr val="F26B43"/>
          </p15:clr>
        </p15:guide>
        <p15:guide id="6" orient="horz" pos="2296">
          <p15:clr>
            <a:srgbClr val="F26B43"/>
          </p15:clr>
        </p15:guide>
        <p15:guide id="7" pos="4952" userDrawn="1">
          <p15:clr>
            <a:srgbClr val="F26B43"/>
          </p15:clr>
        </p15:guide>
        <p15:guide id="8" pos="1421">
          <p15:clr>
            <a:srgbClr val="F26B43"/>
          </p15:clr>
        </p15:guide>
        <p15:guide id="9" pos="2631">
          <p15:clr>
            <a:srgbClr val="F26B43"/>
          </p15:clr>
        </p15:guide>
        <p15:guide id="10" orient="horz" pos="3975">
          <p15:clr>
            <a:srgbClr val="F26B43"/>
          </p15:clr>
        </p15:guide>
        <p15:guide id="11" pos="7680">
          <p15:clr>
            <a:srgbClr val="F26B43"/>
          </p15:clr>
        </p15:guide>
        <p15:guide id="12" orient="horz" pos="3128">
          <p15:clr>
            <a:srgbClr val="F26B43"/>
          </p15:clr>
        </p15:guide>
        <p15:guide id="13" orient="horz" pos="572">
          <p15:clr>
            <a:srgbClr val="F26B43"/>
          </p15:clr>
        </p15:guide>
        <p15:guide id="14" orient="horz" pos="1435">
          <p15:clr>
            <a:srgbClr val="F26B43"/>
          </p15:clr>
        </p15:guide>
        <p15:guide id="15" orient="horz" pos="1857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566">
          <p15:clr>
            <a:srgbClr val="F26B43"/>
          </p15:clr>
        </p15:guide>
        <p15:guide id="18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344E518-84B1-4AB6-9C1D-222DBD5136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462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6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814847-2F31-A86B-315F-F05F68485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96384"/>
            <a:ext cx="7525299" cy="144000"/>
          </a:xfrm>
        </p:spPr>
        <p:txBody>
          <a:bodyPr vert="horz"/>
          <a:lstStyle/>
          <a:p>
            <a:r>
              <a:rPr lang="de-DE" dirty="0"/>
              <a:t>KAPITEL | TITEL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F59B1D5-E9A2-44AC-8240-A1614BC3DF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04F30D-394C-F27B-2F39-2ED40DDBD0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eispiel </a:t>
            </a:r>
            <a:br>
              <a:rPr lang="de-DE" dirty="0"/>
            </a:br>
            <a:r>
              <a:rPr lang="de-DE" dirty="0"/>
              <a:t>Startfolie</a:t>
            </a:r>
          </a:p>
        </p:txBody>
      </p:sp>
      <p:sp>
        <p:nvSpPr>
          <p:cNvPr id="8" name="Date Placeholder 4">
            <a:extLst>
              <a:ext uri="{FF2B5EF4-FFF2-40B4-BE49-F238E27FC236}">
                <a16:creationId xmlns:a16="http://schemas.microsoft.com/office/drawing/2014/main" id="{8B30F12C-1358-1C6A-3891-6F8E24E54EA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6B75AF2-26E2-45AF-AB30-C9880B56D5EE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A1A13297-0162-CC47-4E85-2D37051DA4E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8519040C-D0F4-1359-2048-3243E6A0382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7039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0F0AAC8-622A-4F07-B9E6-B2B2E1A785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961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B46C80-2257-468F-8B8E-E7024E70BC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sz="2600" kern="0" dirty="0"/>
              <a:t>Checkliste</a:t>
            </a:r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B9FDD20-E98B-4A30-98B3-7759BAD09E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002" y="2926232"/>
            <a:ext cx="11521035" cy="3801041"/>
          </a:xfrm>
        </p:spPr>
        <p:txBody>
          <a:bodyPr/>
          <a:lstStyle/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r>
              <a:rPr lang="en-GB" sz="1600" dirty="0" err="1"/>
              <a:t>Überschrift</a:t>
            </a:r>
            <a:r>
              <a:rPr lang="en-GB" sz="1600" dirty="0"/>
              <a:t>, </a:t>
            </a:r>
            <a:r>
              <a:rPr lang="en-GB" sz="1600" dirty="0" err="1"/>
              <a:t>Titel</a:t>
            </a:r>
            <a:r>
              <a:rPr lang="en-GB" sz="1600" dirty="0"/>
              <a:t>, </a:t>
            </a:r>
            <a:r>
              <a:rPr lang="en-GB" sz="1600" dirty="0" err="1"/>
              <a:t>Fußnote</a:t>
            </a:r>
            <a:r>
              <a:rPr lang="en-GB" sz="1600" dirty="0"/>
              <a:t> </a:t>
            </a:r>
            <a:r>
              <a:rPr lang="de-DE" sz="1600" dirty="0"/>
              <a:t>auf allen Folien auf gleicher Höhe und gleich</a:t>
            </a:r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r>
              <a:rPr lang="de-DE" dirty="0"/>
              <a:t>Fußnoten auf allen Seiten ändern über Ansicht </a:t>
            </a:r>
            <a:r>
              <a:rPr lang="de-DE" dirty="0">
                <a:sym typeface="Wingdings" panose="05000000000000000000" pitchFamily="2" charset="2"/>
              </a:rPr>
              <a:t> Folienmaster  Einfügen  Kopf – und Fußzeile</a:t>
            </a:r>
            <a:endParaRPr lang="de-DE" sz="1600" dirty="0"/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r>
              <a:rPr lang="de-DE" sz="1600" dirty="0"/>
              <a:t>Bullet Points mit 120% Größe</a:t>
            </a:r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r>
              <a:rPr lang="de-DE" sz="1600" dirty="0"/>
              <a:t>Schriftfarbe ISE Blau</a:t>
            </a:r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r>
              <a:rPr lang="de-DE" sz="1600" dirty="0"/>
              <a:t>Kein Text / Bild / Element über die Ränder hinweg</a:t>
            </a:r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r>
              <a:rPr lang="de-DE" sz="1600" dirty="0"/>
              <a:t>Quellen in grau, rechts/links unten in die Ecke</a:t>
            </a:r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r>
              <a:rPr lang="de-DE" sz="1600" dirty="0"/>
              <a:t>Animationsreihenfolge kontrollieren</a:t>
            </a:r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r>
              <a:rPr lang="de-DE" sz="1600" dirty="0"/>
              <a:t>Gleicher Inhalt und gleiche Stellen in </a:t>
            </a:r>
            <a:r>
              <a:rPr lang="de-DE" sz="1600" dirty="0" err="1"/>
              <a:t>Bold</a:t>
            </a:r>
            <a:r>
              <a:rPr lang="de-DE" sz="1600" dirty="0"/>
              <a:t> kontrollieren</a:t>
            </a:r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SzPct val="120000"/>
            </a:pPr>
            <a:r>
              <a:rPr lang="de-DE" sz="1600" b="1" dirty="0">
                <a:sym typeface="Wingdings" panose="05000000000000000000" pitchFamily="2" charset="2"/>
              </a:rPr>
              <a:t>Nutze Formatvorlagen (neue Slide hinzufügen  Rechtsklick  Layout) </a:t>
            </a:r>
            <a:endParaRPr lang="de-DE" sz="1600" b="1" dirty="0"/>
          </a:p>
          <a:p>
            <a:pPr marL="285750" indent="-285750">
              <a:buSzPct val="120000"/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5B1ABF-7966-4D57-B115-5EEDB504F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96000"/>
            <a:ext cx="7920000" cy="144000"/>
          </a:xfrm>
        </p:spPr>
        <p:txBody>
          <a:bodyPr vert="horz"/>
          <a:lstStyle/>
          <a:p>
            <a:r>
              <a:rPr lang="de-DE" dirty="0"/>
              <a:t>KAPITEL | TITEL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66DABAC1-6FAB-61F8-E3DA-AAAC052478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6A9B277-5F20-42CC-8495-8AACD3116510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681E206-9190-BAE3-4F06-988393C0147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Fachbereich Rechts- und Wirtschaftswissenschaften | ISE | Perso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2CDB4A8-3ED3-4B7D-CF53-5B9E5B2B03B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E99BB26-B3C6-8633-1F16-8112C9ED4BBA}"/>
              </a:ext>
            </a:extLst>
          </p:cNvPr>
          <p:cNvSpPr txBox="1"/>
          <p:nvPr/>
        </p:nvSpPr>
        <p:spPr>
          <a:xfrm>
            <a:off x="889686" y="3286897"/>
            <a:ext cx="1847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506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686470C-1E2B-F0D3-CC94-B5534E06EB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81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3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FE38F0-B033-4075-E8EC-73CA8F246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696384"/>
            <a:ext cx="7525299" cy="144000"/>
          </a:xfrm>
        </p:spPr>
        <p:txBody>
          <a:bodyPr vert="horz"/>
          <a:lstStyle/>
          <a:p>
            <a:r>
              <a:rPr lang="de-DE" dirty="0"/>
              <a:t>KAPITEL | TITEL</a:t>
            </a:r>
            <a:endParaRPr lang="en-US" dirty="0"/>
          </a:p>
        </p:txBody>
      </p:sp>
      <p:pic>
        <p:nvPicPr>
          <p:cNvPr id="11" name="Picture Placeholder 10" descr="A person in a blue suit&#10;&#10;Description automatically generated with medium confidence">
            <a:extLst>
              <a:ext uri="{FF2B5EF4-FFF2-40B4-BE49-F238E27FC236}">
                <a16:creationId xmlns:a16="http://schemas.microsoft.com/office/drawing/2014/main" id="{C1E8CC3D-9CEF-0FB5-86E1-C0565213FB8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835E55B-28D0-D3C6-76F2-FBE22755E0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Prof. Dr. Benlian, Alexand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049B45-A794-1598-125D-EBB81947390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+49 6151 16-24310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D9DF52-5F62-AEE2-CD6B-5C2D2673D2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benlian@ise.tu-darmstadt.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26949C-7877-7AC0-6A34-03B6A39F80A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S1|02 239</a:t>
            </a:r>
          </a:p>
          <a:p>
            <a:r>
              <a:rPr lang="de-DE" dirty="0"/>
              <a:t>Hochschulstraße 1</a:t>
            </a:r>
          </a:p>
          <a:p>
            <a:r>
              <a:rPr lang="de-DE" dirty="0"/>
              <a:t>64289 Darmstadt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6EEAB71-A140-BE74-3BD1-C32065EF321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DANKE</a:t>
            </a:r>
          </a:p>
        </p:txBody>
      </p:sp>
      <p:sp>
        <p:nvSpPr>
          <p:cNvPr id="14" name="Date Placeholder 8">
            <a:extLst>
              <a:ext uri="{FF2B5EF4-FFF2-40B4-BE49-F238E27FC236}">
                <a16:creationId xmlns:a16="http://schemas.microsoft.com/office/drawing/2014/main" id="{B9D47464-1B7E-D2A5-50D8-F91A2F84CB71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67DA5B83-8295-4D00-A1F1-92C22026F01C}" type="datetime1">
              <a:rPr lang="de-DE" smtClean="0"/>
              <a:t>01.03.2023</a:t>
            </a:fld>
            <a:endParaRPr lang="de-DE" dirty="0"/>
          </a:p>
        </p:txBody>
      </p:sp>
      <p:sp>
        <p:nvSpPr>
          <p:cNvPr id="15" name="Footer Placeholder 9">
            <a:extLst>
              <a:ext uri="{FF2B5EF4-FFF2-40B4-BE49-F238E27FC236}">
                <a16:creationId xmlns:a16="http://schemas.microsoft.com/office/drawing/2014/main" id="{5CA6782A-3F7F-1D99-91BF-BF6B289D17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Fachbereich Rechts- und Wirtschaftswissenschaften | ISE | Person</a:t>
            </a:r>
            <a:endParaRPr lang="de-DE" dirty="0"/>
          </a:p>
        </p:txBody>
      </p:sp>
      <p:sp>
        <p:nvSpPr>
          <p:cNvPr id="16" name="Slide Number Placeholder 10">
            <a:extLst>
              <a:ext uri="{FF2B5EF4-FFF2-40B4-BE49-F238E27FC236}">
                <a16:creationId xmlns:a16="http://schemas.microsoft.com/office/drawing/2014/main" id="{EA318F57-DEAD-5DCB-D750-585BD5978E6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0C102AE-0422-49F2-AB6F-2D341D1EB39B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1513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l5okNnH0G4SZ7JDKcsx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">
  <a:themeElements>
    <a:clrScheme name="ISE Presentation">
      <a:dk1>
        <a:srgbClr val="215697"/>
      </a:dk1>
      <a:lt1>
        <a:srgbClr val="FFFFFF"/>
      </a:lt1>
      <a:dk2>
        <a:srgbClr val="000000"/>
      </a:dk2>
      <a:lt2>
        <a:srgbClr val="808080"/>
      </a:lt2>
      <a:accent1>
        <a:srgbClr val="81A3D8"/>
      </a:accent1>
      <a:accent2>
        <a:srgbClr val="5784CB"/>
      </a:accent2>
      <a:accent3>
        <a:srgbClr val="FFFFFF"/>
      </a:accent3>
      <a:accent4>
        <a:srgbClr val="000000"/>
      </a:accent4>
      <a:accent5>
        <a:srgbClr val="C8C8C8"/>
      </a:accent5>
      <a:accent6>
        <a:srgbClr val="004D99"/>
      </a:accent6>
      <a:hlink>
        <a:srgbClr val="004D99"/>
      </a:hlink>
      <a:folHlink>
        <a:srgbClr val="004D99"/>
      </a:folHlink>
    </a:clrScheme>
    <a:fontScheme name="TUDa_Master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_ISE_16_9_Template" id="{9ACEDFEC-EA14-4FC0-80B8-7F88FC7BA33E}" vid="{51D82936-9968-4FA0-9F4B-8A6EC52D654A}"/>
    </a:ext>
  </a:extLst>
</a:theme>
</file>

<file path=ppt/theme/theme2.xml><?xml version="1.0" encoding="utf-8"?>
<a:theme xmlns:a="http://schemas.openxmlformats.org/drawingml/2006/main" name="Startfolien">
  <a:themeElements>
    <a:clrScheme name="ISE Presentation">
      <a:dk1>
        <a:srgbClr val="215697"/>
      </a:dk1>
      <a:lt1>
        <a:srgbClr val="FFFFFF"/>
      </a:lt1>
      <a:dk2>
        <a:srgbClr val="000000"/>
      </a:dk2>
      <a:lt2>
        <a:srgbClr val="808080"/>
      </a:lt2>
      <a:accent1>
        <a:srgbClr val="81A3D8"/>
      </a:accent1>
      <a:accent2>
        <a:srgbClr val="5784CB"/>
      </a:accent2>
      <a:accent3>
        <a:srgbClr val="FFFFFF"/>
      </a:accent3>
      <a:accent4>
        <a:srgbClr val="000000"/>
      </a:accent4>
      <a:accent5>
        <a:srgbClr val="C8C8C8"/>
      </a:accent5>
      <a:accent6>
        <a:srgbClr val="004D99"/>
      </a:accent6>
      <a:hlink>
        <a:srgbClr val="004D99"/>
      </a:hlink>
      <a:folHlink>
        <a:srgbClr val="004D99"/>
      </a:folHlink>
    </a:clrScheme>
    <a:fontScheme name="TUDa_Master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_ISE_16_9_Template" id="{9ACEDFEC-EA14-4FC0-80B8-7F88FC7BA33E}" vid="{51D82936-9968-4FA0-9F4B-8A6EC52D654A}"/>
    </a:ext>
  </a:extLst>
</a:theme>
</file>

<file path=ppt/theme/theme3.xml><?xml version="1.0" encoding="utf-8"?>
<a:theme xmlns:a="http://schemas.openxmlformats.org/drawingml/2006/main" name="Agenda">
  <a:themeElements>
    <a:clrScheme name="ISE Presentation">
      <a:dk1>
        <a:srgbClr val="215697"/>
      </a:dk1>
      <a:lt1>
        <a:srgbClr val="FFFFFF"/>
      </a:lt1>
      <a:dk2>
        <a:srgbClr val="000000"/>
      </a:dk2>
      <a:lt2>
        <a:srgbClr val="808080"/>
      </a:lt2>
      <a:accent1>
        <a:srgbClr val="81A3D8"/>
      </a:accent1>
      <a:accent2>
        <a:srgbClr val="5784CB"/>
      </a:accent2>
      <a:accent3>
        <a:srgbClr val="FFFFFF"/>
      </a:accent3>
      <a:accent4>
        <a:srgbClr val="000000"/>
      </a:accent4>
      <a:accent5>
        <a:srgbClr val="C8C8C8"/>
      </a:accent5>
      <a:accent6>
        <a:srgbClr val="004D99"/>
      </a:accent6>
      <a:hlink>
        <a:srgbClr val="004D99"/>
      </a:hlink>
      <a:folHlink>
        <a:srgbClr val="004D99"/>
      </a:folHlink>
    </a:clrScheme>
    <a:fontScheme name="TUDa_Master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_ISE_16_9_Template" id="{9ACEDFEC-EA14-4FC0-80B8-7F88FC7BA33E}" vid="{51D82936-9968-4FA0-9F4B-8A6EC52D654A}"/>
    </a:ext>
  </a:extLst>
</a:theme>
</file>

<file path=ppt/theme/theme4.xml><?xml version="1.0" encoding="utf-8"?>
<a:theme xmlns:a="http://schemas.openxmlformats.org/drawingml/2006/main" name="Kapitel-Trenner">
  <a:themeElements>
    <a:clrScheme name="ISE Presentation">
      <a:dk1>
        <a:srgbClr val="215697"/>
      </a:dk1>
      <a:lt1>
        <a:srgbClr val="FFFFFF"/>
      </a:lt1>
      <a:dk2>
        <a:srgbClr val="000000"/>
      </a:dk2>
      <a:lt2>
        <a:srgbClr val="808080"/>
      </a:lt2>
      <a:accent1>
        <a:srgbClr val="81A3D8"/>
      </a:accent1>
      <a:accent2>
        <a:srgbClr val="5784CB"/>
      </a:accent2>
      <a:accent3>
        <a:srgbClr val="FFFFFF"/>
      </a:accent3>
      <a:accent4>
        <a:srgbClr val="000000"/>
      </a:accent4>
      <a:accent5>
        <a:srgbClr val="C8C8C8"/>
      </a:accent5>
      <a:accent6>
        <a:srgbClr val="004D99"/>
      </a:accent6>
      <a:hlink>
        <a:srgbClr val="004D99"/>
      </a:hlink>
      <a:folHlink>
        <a:srgbClr val="004D99"/>
      </a:folHlink>
    </a:clrScheme>
    <a:fontScheme name="TUDa_Master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_ISE_16_9_Template" id="{9ACEDFEC-EA14-4FC0-80B8-7F88FC7BA33E}" vid="{51D82936-9968-4FA0-9F4B-8A6EC52D654A}"/>
    </a:ext>
  </a:extLst>
</a:theme>
</file>

<file path=ppt/theme/theme5.xml><?xml version="1.0" encoding="utf-8"?>
<a:theme xmlns:a="http://schemas.openxmlformats.org/drawingml/2006/main" name="Folien mit Bild">
  <a:themeElements>
    <a:clrScheme name="ISE Presentation">
      <a:dk1>
        <a:srgbClr val="215697"/>
      </a:dk1>
      <a:lt1>
        <a:srgbClr val="FFFFFF"/>
      </a:lt1>
      <a:dk2>
        <a:srgbClr val="000000"/>
      </a:dk2>
      <a:lt2>
        <a:srgbClr val="808080"/>
      </a:lt2>
      <a:accent1>
        <a:srgbClr val="81A3D8"/>
      </a:accent1>
      <a:accent2>
        <a:srgbClr val="5784CB"/>
      </a:accent2>
      <a:accent3>
        <a:srgbClr val="FFFFFF"/>
      </a:accent3>
      <a:accent4>
        <a:srgbClr val="000000"/>
      </a:accent4>
      <a:accent5>
        <a:srgbClr val="C8C8C8"/>
      </a:accent5>
      <a:accent6>
        <a:srgbClr val="004D99"/>
      </a:accent6>
      <a:hlink>
        <a:srgbClr val="004D99"/>
      </a:hlink>
      <a:folHlink>
        <a:srgbClr val="004D99"/>
      </a:folHlink>
    </a:clrScheme>
    <a:fontScheme name="TUDa_Master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_ISE_16_9_Template" id="{9ACEDFEC-EA14-4FC0-80B8-7F88FC7BA33E}" vid="{51D82936-9968-4FA0-9F4B-8A6EC52D654A}"/>
    </a:ext>
  </a:extLst>
</a:theme>
</file>

<file path=ppt/theme/theme6.xml><?xml version="1.0" encoding="utf-8"?>
<a:theme xmlns:a="http://schemas.openxmlformats.org/drawingml/2006/main" name="Folien mit einfachen Inhalten">
  <a:themeElements>
    <a:clrScheme name="ISE Presentation">
      <a:dk1>
        <a:srgbClr val="215697"/>
      </a:dk1>
      <a:lt1>
        <a:srgbClr val="FFFFFF"/>
      </a:lt1>
      <a:dk2>
        <a:srgbClr val="000000"/>
      </a:dk2>
      <a:lt2>
        <a:srgbClr val="808080"/>
      </a:lt2>
      <a:accent1>
        <a:srgbClr val="81A3D8"/>
      </a:accent1>
      <a:accent2>
        <a:srgbClr val="5784CB"/>
      </a:accent2>
      <a:accent3>
        <a:srgbClr val="FFFFFF"/>
      </a:accent3>
      <a:accent4>
        <a:srgbClr val="000000"/>
      </a:accent4>
      <a:accent5>
        <a:srgbClr val="C8C8C8"/>
      </a:accent5>
      <a:accent6>
        <a:srgbClr val="004D99"/>
      </a:accent6>
      <a:hlink>
        <a:srgbClr val="004D99"/>
      </a:hlink>
      <a:folHlink>
        <a:srgbClr val="004D99"/>
      </a:folHlink>
    </a:clrScheme>
    <a:fontScheme name="TUDa_Master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_ISE_16_9_Template" id="{9ACEDFEC-EA14-4FC0-80B8-7F88FC7BA33E}" vid="{51D82936-9968-4FA0-9F4B-8A6EC52D654A}"/>
    </a:ext>
  </a:extLst>
</a:theme>
</file>

<file path=ppt/theme/theme7.xml><?xml version="1.0" encoding="utf-8"?>
<a:theme xmlns:a="http://schemas.openxmlformats.org/drawingml/2006/main" name="Alternative Vorlagen">
  <a:themeElements>
    <a:clrScheme name="ISE Presentation">
      <a:dk1>
        <a:srgbClr val="215697"/>
      </a:dk1>
      <a:lt1>
        <a:srgbClr val="FFFFFF"/>
      </a:lt1>
      <a:dk2>
        <a:srgbClr val="000000"/>
      </a:dk2>
      <a:lt2>
        <a:srgbClr val="808080"/>
      </a:lt2>
      <a:accent1>
        <a:srgbClr val="81A3D8"/>
      </a:accent1>
      <a:accent2>
        <a:srgbClr val="5784CB"/>
      </a:accent2>
      <a:accent3>
        <a:srgbClr val="FFFFFF"/>
      </a:accent3>
      <a:accent4>
        <a:srgbClr val="000000"/>
      </a:accent4>
      <a:accent5>
        <a:srgbClr val="C8C8C8"/>
      </a:accent5>
      <a:accent6>
        <a:srgbClr val="004D99"/>
      </a:accent6>
      <a:hlink>
        <a:srgbClr val="004D99"/>
      </a:hlink>
      <a:folHlink>
        <a:srgbClr val="004D99"/>
      </a:folHlink>
    </a:clrScheme>
    <a:fontScheme name="TUDa_Master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_ISE_16_9_Template" id="{9ACEDFEC-EA14-4FC0-80B8-7F88FC7BA33E}" vid="{51D82936-9968-4FA0-9F4B-8A6EC52D654A}"/>
    </a:ext>
  </a:extLst>
</a:theme>
</file>

<file path=ppt/theme/theme8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8</Words>
  <Application>Microsoft Office PowerPoint</Application>
  <PresentationFormat>Breitbild</PresentationFormat>
  <Paragraphs>31</Paragraphs>
  <Slides>3</Slides>
  <Notes>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7" baseType="lpstr">
      <vt:lpstr>Arial</vt:lpstr>
      <vt:lpstr>Arial Black</vt:lpstr>
      <vt:lpstr>Bitstream Charter</vt:lpstr>
      <vt:lpstr>Stafford</vt:lpstr>
      <vt:lpstr>Verdana</vt:lpstr>
      <vt:lpstr>Wingdings</vt:lpstr>
      <vt:lpstr>Präsentation</vt:lpstr>
      <vt:lpstr>Startfolien</vt:lpstr>
      <vt:lpstr>Agenda</vt:lpstr>
      <vt:lpstr>Kapitel-Trenner</vt:lpstr>
      <vt:lpstr>Folien mit Bild</vt:lpstr>
      <vt:lpstr>Folien mit einfachen Inhalten</vt:lpstr>
      <vt:lpstr>Alternative Vorlagen</vt:lpstr>
      <vt:lpstr>think-cell Folie</vt:lpstr>
      <vt:lpstr>KAPITEL | TITEL</vt:lpstr>
      <vt:lpstr>KAPITEL | TITEL</vt:lpstr>
      <vt:lpstr>KAPITEL | TITE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2_ISE_16_9_Template</dc:title>
  <dc:creator>Jan-Hendrik Schmidt</dc:creator>
  <cp:lastModifiedBy>Marc Goutier</cp:lastModifiedBy>
  <cp:revision>392</cp:revision>
  <dcterms:created xsi:type="dcterms:W3CDTF">2009-12-23T09:42:49Z</dcterms:created>
  <dcterms:modified xsi:type="dcterms:W3CDTF">2023-03-01T13:56:18Z</dcterms:modified>
</cp:coreProperties>
</file>